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vml" ContentType="application/vnd.openxmlformats-officedocument.vmlDrawing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4.xml" ContentType="application/vnd.openxmlformats-officedocument.theme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8.xml" ContentType="application/vnd.openxmlformats-officedocument.presentationml.tags+xml"/>
  <Override PartName="/ppt/notesSlides/notesSlide4.xml" ContentType="application/vnd.openxmlformats-officedocument.presentationml.notesSlide+xml"/>
  <Override PartName="/ppt/tags/tag9.xml" ContentType="application/vnd.openxmlformats-officedocument.presentationml.tags+xml"/>
  <Override PartName="/ppt/notesSlides/notesSlide5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6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14.xml" ContentType="application/vnd.openxmlformats-officedocument.presentationml.tags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  <p:sldMasterId id="2147483663" r:id="rId3"/>
  </p:sldMasterIdLst>
  <p:notesMasterIdLst>
    <p:notesMasterId r:id="rId18"/>
  </p:notesMasterIdLst>
  <p:sldIdLst>
    <p:sldId id="256" r:id="rId4"/>
    <p:sldId id="284" r:id="rId5"/>
    <p:sldId id="273" r:id="rId6"/>
    <p:sldId id="274" r:id="rId7"/>
    <p:sldId id="257" r:id="rId8"/>
    <p:sldId id="258" r:id="rId9"/>
    <p:sldId id="259" r:id="rId10"/>
    <p:sldId id="260" r:id="rId11"/>
    <p:sldId id="261" r:id="rId12"/>
    <p:sldId id="262" r:id="rId13"/>
    <p:sldId id="263" r:id="rId14"/>
    <p:sldId id="264" r:id="rId15"/>
    <p:sldId id="265" r:id="rId16"/>
    <p:sldId id="294" r:id="rId17"/>
  </p:sldIdLst>
  <p:sldSz cx="12192000" cy="6858000"/>
  <p:notesSz cx="6858000" cy="9144000"/>
  <p:custDataLst>
    <p:tags r:id="rId1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  <p15:guide id="3" pos="360" userDrawn="1">
          <p15:clr>
            <a:srgbClr val="A4A3A4"/>
          </p15:clr>
        </p15:guide>
        <p15:guide id="4" pos="732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B87B1"/>
    <a:srgbClr val="295E7B"/>
    <a:srgbClr val="77831B"/>
    <a:srgbClr val="D0E5F0"/>
    <a:srgbClr val="6B2B95"/>
    <a:srgbClr val="DE4D1F"/>
    <a:srgbClr val="A6B726"/>
    <a:srgbClr val="97C4DD"/>
    <a:srgbClr val="FDD043"/>
    <a:srgbClr val="5E5E5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84" autoAdjust="0"/>
    <p:restoredTop sz="94674"/>
  </p:normalViewPr>
  <p:slideViewPr>
    <p:cSldViewPr snapToGrid="0" showGuides="1">
      <p:cViewPr varScale="1">
        <p:scale>
          <a:sx n="124" d="100"/>
          <a:sy n="124" d="100"/>
        </p:scale>
        <p:origin x="680" y="168"/>
      </p:cViewPr>
      <p:guideLst>
        <p:guide orient="horz" pos="2160"/>
        <p:guide pos="3840"/>
        <p:guide pos="360"/>
        <p:guide pos="732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notesMaster" Target="notesMasters/notesMaster1.xml"/><Relationship Id="rId3" Type="http://schemas.openxmlformats.org/officeDocument/2006/relationships/slideMaster" Target="slideMasters/slideMaster3.xml"/><Relationship Id="rId21" Type="http://schemas.openxmlformats.org/officeDocument/2006/relationships/viewProps" Target="viewProps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tableStyles" Target="tableStyles.xml"/><Relationship Id="rId10" Type="http://schemas.openxmlformats.org/officeDocument/2006/relationships/slide" Target="slides/slide7.xml"/><Relationship Id="rId19" Type="http://schemas.openxmlformats.org/officeDocument/2006/relationships/tags" Target="tags/tag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FDD043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6D7-4313-B63A-9FBF738FBF03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6D7-4313-B63A-9FBF738FBF03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rgbClr val="3B87B1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6D7-4313-B63A-9FBF738FBF0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353778559"/>
        <c:axId val="1353789791"/>
      </c:barChart>
      <c:catAx>
        <c:axId val="1353778559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000" b="0" i="0" u="none" strike="noStrike" kern="1200" baseline="0">
                <a:solidFill>
                  <a:schemeClr val="bg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pPr>
            <a:endParaRPr lang="en-US"/>
          </a:p>
        </c:txPr>
        <c:crossAx val="1353789791"/>
        <c:crosses val="autoZero"/>
        <c:auto val="1"/>
        <c:lblAlgn val="ctr"/>
        <c:lblOffset val="100"/>
        <c:noMultiLvlLbl val="0"/>
      </c:catAx>
      <c:valAx>
        <c:axId val="1353789791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bg1"/>
              </a:solidFill>
              <a:round/>
            </a:ln>
            <a:effectLst/>
          </c:spPr>
        </c:majorGridlines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bg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pPr>
            <a:endParaRPr lang="en-US"/>
          </a:p>
        </c:txPr>
        <c:crossAx val="135377855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FDD043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6D7-4313-B63A-9FBF738FBF03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6D7-4313-B63A-9FBF738FBF03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rgbClr val="3B87B1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6D7-4313-B63A-9FBF738FBF0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353778559"/>
        <c:axId val="1353789791"/>
      </c:barChart>
      <c:catAx>
        <c:axId val="1353778559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000" b="0" i="0" u="none" strike="noStrike" kern="1200" baseline="0">
                <a:solidFill>
                  <a:schemeClr val="bg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pPr>
            <a:endParaRPr lang="en-US"/>
          </a:p>
        </c:txPr>
        <c:crossAx val="1353789791"/>
        <c:crosses val="autoZero"/>
        <c:auto val="1"/>
        <c:lblAlgn val="ctr"/>
        <c:lblOffset val="100"/>
        <c:noMultiLvlLbl val="0"/>
      </c:catAx>
      <c:valAx>
        <c:axId val="1353789791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bg1"/>
              </a:solidFill>
              <a:round/>
            </a:ln>
            <a:effectLst/>
          </c:spPr>
        </c:majorGridlines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bg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pPr>
            <a:endParaRPr lang="en-US"/>
          </a:p>
        </c:txPr>
        <c:crossAx val="135377855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5296FCF-94BC-47AB-97B0-F75810B24DF8}" type="datetimeFigureOut">
              <a:rPr lang="en-US" smtClean="0"/>
              <a:t>5/6/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3364624-2DC8-4B80-9C98-68E330EABFB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9044704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homajob?utm_source=unsplash&amp;utm_medium=referral&amp;utm_content=creditCopyText" TargetMode="External"/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Relationship Id="rId4" Type="http://schemas.openxmlformats.org/officeDocument/2006/relationships/hyperlink" Target="file:///s/photos/project%3futm_source=unsplash&amp;utm_medium=referral&amp;utm_content=creditCopyText" TargetMode="Externa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priscilladupreez?utm_source=unsplash&amp;utm_medium=referral&amp;utm_content=creditCopyText" TargetMode="External"/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Relationship Id="rId4" Type="http://schemas.openxmlformats.org/officeDocument/2006/relationships/hyperlink" Target="file:///s/photos/project%3futm_source=unsplash&amp;utm_medium=referral&amp;utm_content=creditCopyText" TargetMode="External"/></Relationships>
</file>

<file path=ppt/notesSlides/_rels/notesSlide5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campaign_creators?utm_source=unsplash&amp;utm_medium=referral&amp;utm_content=creditCopyText" TargetMode="External"/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Relationship Id="rId4" Type="http://schemas.openxmlformats.org/officeDocument/2006/relationships/hyperlink" Target="file:////s/photos/office-work%3futm_source=unsplash&amp;utm_medium=referral&amp;utm_content=creditCopyText" TargetMode="External"/></Relationships>
</file>

<file path=ppt/notesSlides/_rels/notesSlide6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joakimnadell?utm_source=unsplash&amp;utm_medium=referral&amp;utm_content=creditCopyText" TargetMode="External"/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Relationship Id="rId4" Type="http://schemas.openxmlformats.org/officeDocument/2006/relationships/hyperlink" Target="file:////s/photos/building-abstract%3futm_source=unsplash&amp;utm_medium=referral&amp;utm_content=creditCopyText" TargetMode="External"/></Relationships>
</file>

<file path=ppt/notesSlides/_rels/notesSlide7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irfansimsar?utm_source=unsplash&amp;utm_medium=referral&amp;utm_content=creditCopyText" TargetMode="External"/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unsplash.com/t/business-work?utm_source=unsplash&amp;utm_medium=referral&amp;utm_content=creditCopyText" TargetMode="External"/></Relationships>
</file>

<file path=ppt/notesSlides/_rels/notesSlide8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surface?utm_source=unsplash&amp;utm_medium=referral&amp;utm_content=creditCopyText" TargetMode="External"/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unsplash.com/t/business-work?utm_source=unsplash&amp;utm_medium=referral&amp;utm_content=creditCopyText" TargetMode="Externa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 by </a:t>
            </a:r>
            <a:r>
              <a:rPr lang="en-US" dirty="0">
                <a:hlinkClick r:id="rId3"/>
              </a:rPr>
              <a:t>Scott Graham</a:t>
            </a:r>
            <a:r>
              <a:rPr lang="en-US" dirty="0"/>
              <a:t> on </a:t>
            </a:r>
            <a:r>
              <a:rPr lang="en-US" dirty="0" err="1">
                <a:hlinkClick r:id="rId4"/>
              </a:rPr>
              <a:t>Unsplash</a:t>
            </a:r>
            <a:r>
              <a:rPr lang="en-US" dirty="0"/>
              <a:t>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3364624-2DC8-4B80-9C98-68E330EABFB6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58212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7446D3C-7248-4466-83D3-3CA300DE77F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9506120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8E8EE67-7A75-494E-98A3-D8E57C5B2CB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4703980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 by </a:t>
            </a:r>
            <a:r>
              <a:rPr lang="en-US" dirty="0">
                <a:hlinkClick r:id="rId3"/>
              </a:rPr>
              <a:t>Priscilla Du </a:t>
            </a:r>
            <a:r>
              <a:rPr lang="en-US" dirty="0" err="1">
                <a:hlinkClick r:id="rId3"/>
              </a:rPr>
              <a:t>Preez</a:t>
            </a:r>
            <a:r>
              <a:rPr lang="en-US" dirty="0"/>
              <a:t> on </a:t>
            </a:r>
            <a:r>
              <a:rPr lang="en-US" dirty="0" err="1">
                <a:hlinkClick r:id="rId4"/>
              </a:rPr>
              <a:t>Unsplash</a:t>
            </a:r>
            <a:r>
              <a:rPr lang="en-US" dirty="0"/>
              <a:t>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3364624-2DC8-4B80-9C98-68E330EABFB6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2089228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 by </a:t>
            </a:r>
            <a:r>
              <a:rPr lang="en-US" dirty="0">
                <a:hlinkClick r:id="rId3"/>
              </a:rPr>
              <a:t>Campaign Creators</a:t>
            </a:r>
            <a:r>
              <a:rPr lang="en-US" dirty="0"/>
              <a:t> on </a:t>
            </a:r>
            <a:r>
              <a:rPr lang="en-US" dirty="0" err="1">
                <a:hlinkClick r:id="rId4" action="ppaction://hlinkfile"/>
              </a:rPr>
              <a:t>Unsplash</a:t>
            </a:r>
            <a:r>
              <a:rPr lang="en-US" dirty="0"/>
              <a:t>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3364624-2DC8-4B80-9C98-68E330EABFB6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6530858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 by </a:t>
            </a:r>
            <a:r>
              <a:rPr lang="en-US" dirty="0">
                <a:hlinkClick r:id="rId3"/>
              </a:rPr>
              <a:t>Joakim </a:t>
            </a:r>
            <a:r>
              <a:rPr lang="en-US" dirty="0" err="1">
                <a:hlinkClick r:id="rId3"/>
              </a:rPr>
              <a:t>Nådell</a:t>
            </a:r>
            <a:r>
              <a:rPr lang="en-US" dirty="0"/>
              <a:t> on </a:t>
            </a:r>
            <a:r>
              <a:rPr lang="en-US" dirty="0" err="1">
                <a:hlinkClick r:id="rId4" action="ppaction://hlinkfile"/>
              </a:rPr>
              <a:t>Unsplash</a:t>
            </a:r>
            <a:r>
              <a:rPr lang="en-US" dirty="0"/>
              <a:t>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3364624-2DC8-4B80-9C98-68E330EABFB6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0595621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 by </a:t>
            </a:r>
            <a:r>
              <a:rPr lang="en-US" dirty="0">
                <a:hlinkClick r:id="rId3"/>
              </a:rPr>
              <a:t>İrfan </a:t>
            </a:r>
            <a:r>
              <a:rPr lang="en-US" dirty="0" err="1">
                <a:hlinkClick r:id="rId3"/>
              </a:rPr>
              <a:t>Simsar</a:t>
            </a:r>
            <a:r>
              <a:rPr lang="en-US" dirty="0"/>
              <a:t> on </a:t>
            </a:r>
            <a:r>
              <a:rPr lang="en-US" dirty="0" err="1">
                <a:hlinkClick r:id="rId4"/>
              </a:rPr>
              <a:t>Unsplash</a:t>
            </a:r>
            <a:r>
              <a:rPr lang="en-US" dirty="0"/>
              <a:t> </a:t>
            </a:r>
            <a:endParaRPr lang="en-ID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3364624-2DC8-4B80-9C98-68E330EABFB6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148602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 by </a:t>
            </a:r>
            <a:r>
              <a:rPr lang="en-US" dirty="0">
                <a:hlinkClick r:id="rId3"/>
              </a:rPr>
              <a:t>Surface</a:t>
            </a:r>
            <a:r>
              <a:rPr lang="en-US" dirty="0"/>
              <a:t> on </a:t>
            </a:r>
            <a:r>
              <a:rPr lang="en-US" dirty="0" err="1">
                <a:hlinkClick r:id="rId4"/>
              </a:rPr>
              <a:t>Unsplash</a:t>
            </a:r>
            <a:r>
              <a:rPr lang="en-US" dirty="0"/>
              <a:t> </a:t>
            </a:r>
            <a:endParaRPr lang="en-ID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3364624-2DC8-4B80-9C98-68E330EABFB6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063857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9BD7C2-2D12-4700-864B-2C660C8A48C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466C720-D4D2-4FD9-B275-0938A6D624D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7D0A2E1-DAF3-4329-8958-879E69DA0CF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6E45FF7-C2A2-45CC-A65C-CD585A862904}" type="datetimeFigureOut">
              <a:rPr lang="en-US" smtClean="0"/>
              <a:t>5/6/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555515A-BA0A-4C98-BAB1-653A7C60AF8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515B756-9846-46B6-85EC-0DE251D097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13A2AF-9881-47E7-AE38-D70ECBD2298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4882892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AD28EF-E0F5-45D2-A81A-06F956CA0B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BD3432D9-0691-462C-BDFA-A598B141EEC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93B4832-F323-4AF2-B336-248CBC5D94E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6E45FF7-C2A2-45CC-A65C-CD585A862904}" type="datetimeFigureOut">
              <a:rPr lang="en-US" smtClean="0"/>
              <a:t>5/6/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9A35ECA-7A0D-47E4-9274-4300B48FCD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C3D9687-62C4-47BE-9F7F-89A8AEB4D5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13A2AF-9881-47E7-AE38-D70ECBD2298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352938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96FFA10F-9E02-43BE-950B-4AD2B4FD271E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297F27A2-77BA-49E8-A9B1-79B8B9933B5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19A2E62-0468-4A88-A20E-A72618F514F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6E45FF7-C2A2-45CC-A65C-CD585A862904}" type="datetimeFigureOut">
              <a:rPr lang="en-US" smtClean="0"/>
              <a:t>5/6/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0E4DC79-294D-4293-BDD1-A576FBFB75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249168D-D875-4D8D-82FE-13013A4678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13A2AF-9881-47E7-AE38-D70ECBD2298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059868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2407B1E-6427-4C34-9A89-1E8A6754B70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32A01C-61EC-4D49-878D-066848BDDCD0}" type="datetimeFigureOut">
              <a:rPr lang="en-ID" smtClean="0"/>
              <a:t>06/05/22</a:t>
            </a:fld>
            <a:endParaRPr lang="en-ID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05E90D4-8C75-4436-BFAA-F71273A4FE8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A2F622D-A25F-4DC1-9B66-12C9945E45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B828C7-9901-42AB-BCDB-95692AF75EFB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51883203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6437C02-0FE9-4694-A7B5-DAA2E7F9282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1D4DD3-678E-4AFD-A40F-E4DACEA77179}" type="datetime1">
              <a:rPr lang="en-US" smtClean="0"/>
              <a:t>5/6/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6259E44-CD78-4CC7-8AA4-C4FF8D3688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953EE96-960C-45FC-BB52-209ED24418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3DEBBE-1EFA-4D2E-88F5-083B206EF4A4}" type="slidenum">
              <a:rPr lang="en-US" smtClean="0"/>
              <a:t>‹#›</a:t>
            </a:fld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40D0FF3-A2B2-493D-8FE0-A9B0D0F67B95}"/>
              </a:ext>
            </a:extLst>
          </p:cNvPr>
          <p:cNvSpPr/>
          <p:nvPr userDrawn="1"/>
        </p:nvSpPr>
        <p:spPr>
          <a:xfrm>
            <a:off x="10223500" y="6356350"/>
            <a:ext cx="1968500" cy="50165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DBED446B-6B6E-4F72-A142-4F2CFE0B7463}"/>
              </a:ext>
            </a:extLst>
          </p:cNvPr>
          <p:cNvSpPr/>
          <p:nvPr userDrawn="1"/>
        </p:nvSpPr>
        <p:spPr>
          <a:xfrm>
            <a:off x="215900" y="196850"/>
            <a:ext cx="11760200" cy="6464300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D2179AD8-EB94-48B9-85DE-CEB8A1CAEB16}"/>
              </a:ext>
            </a:extLst>
          </p:cNvPr>
          <p:cNvSpPr/>
          <p:nvPr userDrawn="1"/>
        </p:nvSpPr>
        <p:spPr>
          <a:xfrm>
            <a:off x="584200" y="0"/>
            <a:ext cx="292100" cy="12065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69873597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F667C5E-FB68-4521-A8B7-101E4CF2A73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7615497-1D01-49E5-B478-CC8A5BD2D7B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D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CF0CBF3-D25C-4A0D-960F-E7D99E688D9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5997C8-D194-4E1A-AD43-558513CA001C}" type="datetimeFigureOut">
              <a:rPr lang="en-ID" smtClean="0"/>
              <a:t>06/05/22</a:t>
            </a:fld>
            <a:endParaRPr lang="en-ID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4DCFA5F-5D4E-4D59-8C25-2FC3F8A94A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C20A3DA-23A0-4887-9671-6D2DFC7CF2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4A7BE5-C66F-4B36-80D2-ED11557B9407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59110008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3A3C7F9-D8B4-4D14-9BC9-9132A13015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A636DFC-892F-4434-9574-5471DE8D035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5A6C019-88A8-4B38-BDCA-6B48FE13CA7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5997C8-D194-4E1A-AD43-558513CA001C}" type="datetimeFigureOut">
              <a:rPr lang="en-ID" smtClean="0"/>
              <a:t>06/05/22</a:t>
            </a:fld>
            <a:endParaRPr lang="en-ID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5900EA0-6446-4214-AFEB-F08B842F42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3F59F27-81A0-4857-9637-781A1CA3B0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4A7BE5-C66F-4B36-80D2-ED11557B9407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48557032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0B8BFC6-D661-42D6-A45C-3946F3A5F8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CE1EB16-C284-4F49-A592-B28CE6DB560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1A5C463-23A7-4D6E-B7EB-C460F83D0EF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5997C8-D194-4E1A-AD43-558513CA001C}" type="datetimeFigureOut">
              <a:rPr lang="en-ID" smtClean="0"/>
              <a:t>06/05/22</a:t>
            </a:fld>
            <a:endParaRPr lang="en-ID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E127D0C-B7DF-4D6F-A5DF-B74A0DAD9DC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6EEC2D1-F34D-4967-BFFD-C03B0DB07F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4A7BE5-C66F-4B36-80D2-ED11557B9407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37418460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F34699F-A543-496F-BB66-2ACD1CD6ED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E6D1430-273D-46C9-8382-F71AE6536E2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6CF12BE-F16E-4900-81EB-692A451858F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C15F4F9-74AD-44A9-A213-423AD3DA57E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5997C8-D194-4E1A-AD43-558513CA001C}" type="datetimeFigureOut">
              <a:rPr lang="en-ID" smtClean="0"/>
              <a:t>06/05/22</a:t>
            </a:fld>
            <a:endParaRPr lang="en-ID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023365D-7658-4612-B028-C64FD3326E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7303C09-F0B1-4085-82A7-388AE8E2DF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4A7BE5-C66F-4B36-80D2-ED11557B9407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84255459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D0BD255-1FC8-488E-B7F1-4D4A99F19B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D879880-E8C7-4D9A-8C5C-E87A16F8090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288F7DD-E114-4140-B924-52345BC4999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CB1434A-A066-4930-BB0D-8B844FD4E70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7C2477A-DDB4-4716-87F1-1428910804CA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A9546ECB-7441-496C-A020-4742E01239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5997C8-D194-4E1A-AD43-558513CA001C}" type="datetimeFigureOut">
              <a:rPr lang="en-ID" smtClean="0"/>
              <a:t>06/05/22</a:t>
            </a:fld>
            <a:endParaRPr lang="en-ID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47387CC-F75F-4A15-A726-4E372B8A18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0FB43EB-A420-41C3-8260-4CF2047563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4A7BE5-C66F-4B36-80D2-ED11557B9407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89830976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73B6DCB-E016-4C29-9A57-6D803243BE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07920B7-CCD2-4995-A221-12DA4FD05F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5997C8-D194-4E1A-AD43-558513CA001C}" type="datetimeFigureOut">
              <a:rPr lang="en-ID" smtClean="0"/>
              <a:t>06/05/22</a:t>
            </a:fld>
            <a:endParaRPr lang="en-ID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8F5760E-B5E4-41AC-A7D1-6F6491CFEF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3A370CE-33F3-4814-B6EA-B417628053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4A7BE5-C66F-4B36-80D2-ED11557B9407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18614341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074EE65-3F77-4E3E-9FA7-3FD93EC759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E77C243-DB46-49DD-BFD1-1046616FD70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9C88779-4999-454A-8791-D49314F62BB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6E45FF7-C2A2-45CC-A65C-CD585A862904}" type="datetimeFigureOut">
              <a:rPr lang="en-US" smtClean="0"/>
              <a:t>5/6/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D37D56F-A806-4A0A-8267-30AC2477E62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2342DD8-CECE-44B8-A037-DC7B2C44ED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13A2AF-9881-47E7-AE38-D70ECBD2298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7630401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67DF199-F9CC-4D54-BBE0-D65D0473F88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5997C8-D194-4E1A-AD43-558513CA001C}" type="datetimeFigureOut">
              <a:rPr lang="en-ID" smtClean="0"/>
              <a:t>06/05/22</a:t>
            </a:fld>
            <a:endParaRPr lang="en-ID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7C93E07-5FBD-4773-99A7-41B8924AEC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440600F-ACE0-4F88-B29E-209FA18823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4A7BE5-C66F-4B36-80D2-ED11557B9407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93602835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C85443D-2A0F-404E-AA76-5B4DA3DAA6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73C9573-2539-4364-8AB7-5808B04D983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700C84C-ECD7-49ED-B279-87EE4140E7D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322DBCC-5A73-4CAF-B623-062DAE3EBD4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5997C8-D194-4E1A-AD43-558513CA001C}" type="datetimeFigureOut">
              <a:rPr lang="en-ID" smtClean="0"/>
              <a:t>06/05/22</a:t>
            </a:fld>
            <a:endParaRPr lang="en-ID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2284B25-8122-4CEF-9316-2E1C191AE1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060A493-EBC8-4502-85F5-1706972075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4A7BE5-C66F-4B36-80D2-ED11557B9407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11005002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827C47-826E-460D-BEE9-E2A565029C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E12CE2CE-4D1C-48CC-8E24-EC540F1F906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ID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2306C98-D658-48F3-9113-1995E061780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4EB1648-D2D0-4617-AA4F-CA7F0694F41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5997C8-D194-4E1A-AD43-558513CA001C}" type="datetimeFigureOut">
              <a:rPr lang="en-ID" smtClean="0"/>
              <a:t>06/05/22</a:t>
            </a:fld>
            <a:endParaRPr lang="en-ID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BD187EC-17F6-45FB-9CB5-93BEA741D3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211959D-0319-4347-8D6E-00D877219CA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4A7BE5-C66F-4B36-80D2-ED11557B9407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18462980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BA26E7B-B000-4B91-8AFC-11BB2EF8FB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F15EB7D-16EB-498E-8446-1F7ED590672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6E4EB9B-4169-4A2D-B73D-B7CDE7B95D1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5997C8-D194-4E1A-AD43-558513CA001C}" type="datetimeFigureOut">
              <a:rPr lang="en-ID" smtClean="0"/>
              <a:t>06/05/22</a:t>
            </a:fld>
            <a:endParaRPr lang="en-ID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9A6619F-8210-4C68-BB6D-6C4FB12941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AA6ABCB-F69E-4D70-888A-2D9808FFD37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4A7BE5-C66F-4B36-80D2-ED11557B9407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54413524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36A9E195-4A91-4E8F-8517-9C1FB970FEE9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29C23C9A-4133-41BC-9891-C6FAFF66BC5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EFB5FA4-9432-4210-A7CE-54C245C7B6C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5997C8-D194-4E1A-AD43-558513CA001C}" type="datetimeFigureOut">
              <a:rPr lang="en-ID" smtClean="0"/>
              <a:t>06/05/22</a:t>
            </a:fld>
            <a:endParaRPr lang="en-ID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E1169AD-D5EB-481A-83B1-12A6515F5D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9AB988B-600E-425B-BF97-87CD938C22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4A7BE5-C66F-4B36-80D2-ED11557B9407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94196801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535AF48-DEAB-4C09-AC5D-0F6A423A8C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9F8C5BC-C706-4C81-B2C8-0C51B066E57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648CF15-3977-4CB6-9448-F680CA7D0D4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6E45FF7-C2A2-45CC-A65C-CD585A862904}" type="datetimeFigureOut">
              <a:rPr lang="en-US" smtClean="0"/>
              <a:t>5/6/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8A0F82E-B501-4DAF-BA84-C840036B47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A125584-C52D-4C47-9D3F-1D3D175A74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13A2AF-9881-47E7-AE38-D70ECBD2298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228116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5AB923-6EB6-4C59-84E2-9C91619BBC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EC80910-F836-4637-8975-9DEFAF5EBEC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8F2FD18-CA92-4688-A623-C6D70B16F86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7A34D40-851A-4414-BFD2-5FB0A3F5ADD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6E45FF7-C2A2-45CC-A65C-CD585A862904}" type="datetimeFigureOut">
              <a:rPr lang="en-US" smtClean="0"/>
              <a:t>5/6/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B2DE2B5-7F87-4C6D-929E-DFBBD8BD77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B1793D1-9605-4CA3-A57C-D0D847E559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13A2AF-9881-47E7-AE38-D70ECBD2298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9638768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B26D2D7-EF05-4EE4-B50C-6D8955BAC5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6A8F130-C5BC-4DCC-BC01-6FE13901833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90A464C-F714-4691-812C-02AE00D6043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98CDE48-D8F8-4E46-9705-EC47C7BA3CC8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BABABF5A-D25B-47B2-BCEE-B7E79B1D9093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BB06CBD8-7396-4F35-B7D3-216BE500171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6E45FF7-C2A2-45CC-A65C-CD585A862904}" type="datetimeFigureOut">
              <a:rPr lang="en-US" smtClean="0"/>
              <a:t>5/6/22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9947988F-559F-440A-8AD2-93D89B1564A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2B7FF2C0-F7EE-415B-B697-BF692033AF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13A2AF-9881-47E7-AE38-D70ECBD2298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4479460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29D6A87-6582-4750-8958-C85689B376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6AB21A5-70A0-4D49-8CA9-67C79CADB7C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6E45FF7-C2A2-45CC-A65C-CD585A862904}" type="datetimeFigureOut">
              <a:rPr lang="en-US" smtClean="0"/>
              <a:t>5/6/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7593261-BFCF-4DB1-A941-8F94010992D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12C64D0-78BA-45AD-B59C-66499E2ACA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13A2AF-9881-47E7-AE38-D70ECBD2298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480519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D8EE6F3-C837-4DA6-A76C-63A34B070B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6E45FF7-C2A2-45CC-A65C-CD585A862904}" type="datetimeFigureOut">
              <a:rPr lang="en-US" smtClean="0"/>
              <a:t>5/6/22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D6BFA8D-9A6C-48FC-AA52-78963EFA502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CBEC71-63A8-4328-8685-75DF67B748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13A2AF-9881-47E7-AE38-D70ECBD2298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1076971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4281B0D-2146-4BB9-93DF-7729E5F640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D491250-986C-4612-8D58-2C0F3C8E09F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E4AEEDA-CD48-48D9-8732-927EA3D0551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31DA55E-53DC-44FC-A485-8C17F5E9587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6E45FF7-C2A2-45CC-A65C-CD585A862904}" type="datetimeFigureOut">
              <a:rPr lang="en-US" smtClean="0"/>
              <a:t>5/6/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E3DFBEF-9992-4726-96F9-C465EFB978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473A370-194F-4BC5-9718-D33C205C80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13A2AF-9881-47E7-AE38-D70ECBD2298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4842932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EB504B7-430B-4E0F-9B7C-68F0E7FA6D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98597B1E-EE6B-452A-8966-CDF7FF4B450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F9464F8-7FB1-49E1-A9F7-182043A2A8B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FFF1B70-810E-4B63-909A-73770D1674A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6E45FF7-C2A2-45CC-A65C-CD585A862904}" type="datetimeFigureOut">
              <a:rPr lang="en-US" smtClean="0"/>
              <a:t>5/6/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06CA49B-9D66-4216-AF53-954A9F83CD2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D0E3F4C-3B76-496C-9462-57C342B5E1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13A2AF-9881-47E7-AE38-D70ECBD2298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4523220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heme" Target="../theme/theme2.xml"/><Relationship Id="rId7" Type="http://schemas.openxmlformats.org/officeDocument/2006/relationships/oleObject" Target="../embeddings/oleObject2.bin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tags" Target="../tags/tag4.xml"/><Relationship Id="rId5" Type="http://schemas.openxmlformats.org/officeDocument/2006/relationships/tags" Target="../tags/tag3.xml"/><Relationship Id="rId4" Type="http://schemas.openxmlformats.org/officeDocument/2006/relationships/vmlDrawing" Target="../drawings/vmlDrawing2.v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vmlDrawing" Target="../drawings/vmlDrawing3.vml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theme" Target="../theme/theme3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15.xml"/><Relationship Id="rId16" Type="http://schemas.openxmlformats.org/officeDocument/2006/relationships/oleObject" Target="../embeddings/oleObject3.bin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5" Type="http://schemas.openxmlformats.org/officeDocument/2006/relationships/tags" Target="../tags/tag6.xml"/><Relationship Id="rId10" Type="http://schemas.openxmlformats.org/officeDocument/2006/relationships/slideLayout" Target="../slideLayouts/slideLayout23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tags" Target="../tags/tag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7518FBBE-68F1-4301-A6CA-34D0815A56F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1836081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9" name="think-cell Slide" r:id="rId15" imgW="383" imgH="384" progId="TCLayout.ActiveDocument.1">
                  <p:embed/>
                </p:oleObj>
              </mc:Choice>
              <mc:Fallback>
                <p:oleObj name="think-cell Slide" r:id="rId15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7F03B395-E817-4731-9C70-ED9459AFEE8B}"/>
              </a:ext>
            </a:extLst>
          </p:cNvPr>
          <p:cNvSpPr/>
          <p:nvPr userDrawn="1"/>
        </p:nvSpPr>
        <p:spPr>
          <a:xfrm rot="2708860">
            <a:off x="11230763" y="6353281"/>
            <a:ext cx="371262" cy="371262"/>
          </a:xfrm>
          <a:prstGeom prst="roundRect">
            <a:avLst>
              <a:gd name="adj" fmla="val 4271"/>
            </a:avLst>
          </a:prstGeom>
          <a:gradFill>
            <a:gsLst>
              <a:gs pos="0">
                <a:srgbClr val="295E7B"/>
              </a:gs>
              <a:gs pos="100000">
                <a:srgbClr val="3B87B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17D1B44-8612-474D-8C54-751C335C7F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4243" y="365125"/>
            <a:ext cx="11063514" cy="75247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A68C6EF-B80A-48E6-AAC2-8D9127645CC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64243" y="1320800"/>
            <a:ext cx="11063514" cy="4876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C082414-A9F2-4E3B-830E-FCFD8DEB0A6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5029" y="6356350"/>
            <a:ext cx="42272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 i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fld id="{C613A2AF-9881-47E7-AE38-D70ECBD2298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94884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Segoe UI" panose="020B0502040204020203" pitchFamily="34" charset="0"/>
          <a:ea typeface="+mj-ea"/>
          <a:cs typeface="Segoe UI" panose="020B0502040204020203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B853DF03-CD76-4B5A-8EB3-63B382E1319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4296416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3" name="think-cell Slide" r:id="rId7" imgW="383" imgH="384" progId="TCLayout.ActiveDocument.1">
                  <p:embed/>
                </p:oleObj>
              </mc:Choice>
              <mc:Fallback>
                <p:oleObj name="think-cell Slide" r:id="rId7" imgW="383" imgH="38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B853DF03-CD76-4B5A-8EB3-63B382E131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6183CDAB-5319-4127-A949-FD374215343E}"/>
              </a:ext>
            </a:extLst>
          </p:cNvPr>
          <p:cNvSpPr/>
          <p:nvPr userDrawn="1"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>
              <a:latin typeface="Bahnschrift" panose="020B0502040204020203" pitchFamily="34" charset="0"/>
              <a:ea typeface="+mj-ea"/>
              <a:cs typeface="+mj-cs"/>
              <a:sym typeface="Bahnschrift" panose="020B0502040204020203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0D28C36-06A6-4687-99BA-A709C0EB5F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3D4BD70-3CB1-4CF2-B956-6C0AF1AA7F1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F9440B9-E739-4FE5-9BD0-8C112471795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F32A01C-61EC-4D49-878D-066848BDDCD0}" type="datetimeFigureOut">
              <a:rPr lang="en-ID" smtClean="0"/>
              <a:t>06/05/22</a:t>
            </a:fld>
            <a:endParaRPr lang="en-ID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7439059-A5DB-4AFA-87B8-190DB28F7C2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ID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4099BD2-E85E-4D1D-BA49-DDEA0BA69E0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DB828C7-9901-42AB-BCDB-95692AF75EFB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7944482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8A6AE9AA-FBCD-4206-8A63-E3A81D94862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1719357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7" name="think-cell Slide" r:id="rId16" imgW="383" imgH="384" progId="TCLayout.ActiveDocument.1">
                  <p:embed/>
                </p:oleObj>
              </mc:Choice>
              <mc:Fallback>
                <p:oleObj name="think-cell Slide" r:id="rId16" imgW="383" imgH="38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8A6AE9AA-FBCD-4206-8A63-E3A81D9486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D960C996-0146-46D5-B128-DCDF00682CF2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>
              <a:latin typeface="Consolas" panose="020B0609020204030204" pitchFamily="49" charset="0"/>
              <a:ea typeface="+mj-ea"/>
              <a:cs typeface="+mj-cs"/>
              <a:sym typeface="Consolas" panose="020B0609020204030204" pitchFamily="49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CB9B958-55CA-48B5-81F1-C6BC2F4F87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DC44CE2-1105-47FE-955D-81C96D12AAC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FFC653F-8EE2-4B5E-B2B7-FAABE6B356A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85997C8-D194-4E1A-AD43-558513CA001C}" type="datetimeFigureOut">
              <a:rPr lang="en-ID" smtClean="0"/>
              <a:t>06/05/22</a:t>
            </a:fld>
            <a:endParaRPr lang="en-ID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467EC97-C70E-4775-B104-BA014F718A2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ID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5E2BA64-4F1D-4B0C-A5B8-40B865ADF68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94A7BE5-C66F-4B36-80D2-ED11557B9407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5527376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65" r:id="rId2"/>
    <p:sldLayoutId id="2147483666" r:id="rId3"/>
    <p:sldLayoutId id="2147483667" r:id="rId4"/>
    <p:sldLayoutId id="2147483668" r:id="rId5"/>
    <p:sldLayoutId id="2147483669" r:id="rId6"/>
    <p:sldLayoutId id="2147483670" r:id="rId7"/>
    <p:sldLayoutId id="2147483671" r:id="rId8"/>
    <p:sldLayoutId id="2147483672" r:id="rId9"/>
    <p:sldLayoutId id="2147483673" r:id="rId10"/>
    <p:sldLayoutId id="2147483674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2.jpeg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.xml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7.jpeg"/><Relationship Id="rId2" Type="http://schemas.openxmlformats.org/officeDocument/2006/relationships/tags" Target="../tags/tag13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notesSlide" Target="../notesSlides/notesSlide6.xml"/><Relationship Id="rId9" Type="http://schemas.openxmlformats.org/officeDocument/2006/relationships/chart" Target="../charts/char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31.svg"/><Relationship Id="rId4" Type="http://schemas.openxmlformats.org/officeDocument/2006/relationships/image" Target="../media/image30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jpeg"/><Relationship Id="rId3" Type="http://schemas.openxmlformats.org/officeDocument/2006/relationships/image" Target="../media/image33.jpeg"/><Relationship Id="rId7" Type="http://schemas.openxmlformats.org/officeDocument/2006/relationships/image" Target="../media/image37.jpeg"/><Relationship Id="rId2" Type="http://schemas.openxmlformats.org/officeDocument/2006/relationships/image" Target="../media/image32.jpeg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36.jpeg"/><Relationship Id="rId5" Type="http://schemas.openxmlformats.org/officeDocument/2006/relationships/image" Target="../media/image35.jpeg"/><Relationship Id="rId4" Type="http://schemas.openxmlformats.org/officeDocument/2006/relationships/image" Target="../media/image34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7" Type="http://schemas.openxmlformats.org/officeDocument/2006/relationships/image" Target="../media/image7.emf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6.png"/><Relationship Id="rId5" Type="http://schemas.openxmlformats.org/officeDocument/2006/relationships/image" Target="../media/image5.jpg"/><Relationship Id="rId4" Type="http://schemas.openxmlformats.org/officeDocument/2006/relationships/image" Target="../media/image4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10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jpeg"/><Relationship Id="rId13" Type="http://schemas.microsoft.com/office/2007/relationships/hdphoto" Target="../media/hdphoto1.wdp"/><Relationship Id="rId3" Type="http://schemas.openxmlformats.org/officeDocument/2006/relationships/image" Target="../media/image11.png"/><Relationship Id="rId7" Type="http://schemas.openxmlformats.org/officeDocument/2006/relationships/image" Target="../media/image15.jpeg"/><Relationship Id="rId12" Type="http://schemas.openxmlformats.org/officeDocument/2006/relationships/image" Target="../media/image20.png"/><Relationship Id="rId17" Type="http://schemas.openxmlformats.org/officeDocument/2006/relationships/image" Target="../media/image24.png"/><Relationship Id="rId2" Type="http://schemas.openxmlformats.org/officeDocument/2006/relationships/notesSlide" Target="../notesSlides/notesSlide3.xml"/><Relationship Id="rId16" Type="http://schemas.openxmlformats.org/officeDocument/2006/relationships/image" Target="../media/image23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4.emf"/><Relationship Id="rId11" Type="http://schemas.openxmlformats.org/officeDocument/2006/relationships/image" Target="../media/image19.emf"/><Relationship Id="rId5" Type="http://schemas.openxmlformats.org/officeDocument/2006/relationships/image" Target="../media/image13.emf"/><Relationship Id="rId15" Type="http://schemas.openxmlformats.org/officeDocument/2006/relationships/image" Target="../media/image22.png"/><Relationship Id="rId10" Type="http://schemas.openxmlformats.org/officeDocument/2006/relationships/image" Target="../media/image18.png"/><Relationship Id="rId4" Type="http://schemas.openxmlformats.org/officeDocument/2006/relationships/image" Target="../media/image12.png"/><Relationship Id="rId9" Type="http://schemas.openxmlformats.org/officeDocument/2006/relationships/image" Target="../media/image17.png"/><Relationship Id="rId14" Type="http://schemas.openxmlformats.org/officeDocument/2006/relationships/image" Target="../media/image21.tif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5.jpeg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6.jpeg"/><Relationship Id="rId2" Type="http://schemas.openxmlformats.org/officeDocument/2006/relationships/tags" Target="../tags/tag9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0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2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E409C67-B8D0-4388-943C-C399344AB96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280948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1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 descr="A picture containing text, person, computer, indoor&#10;&#10;Description automatically generated">
            <a:extLst>
              <a:ext uri="{FF2B5EF4-FFF2-40B4-BE49-F238E27FC236}">
                <a16:creationId xmlns:a16="http://schemas.microsoft.com/office/drawing/2014/main" id="{EAB09AFB-0185-4266-8CE8-BAA29470FE9A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r="467" b="16110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26D4E764-EDC0-48B3-AD08-F4CB17EB073D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>
              <a:lumMod val="85000"/>
              <a:lumOff val="15000"/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AF3B129-B31A-44E3-9183-EBF0DE75D3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13A2AF-9881-47E7-AE38-D70ECBD2298B}" type="slidenum">
              <a:rPr lang="en-US" smtClean="0"/>
              <a:t>1</a:t>
            </a:fld>
            <a:endParaRPr lang="en-US"/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92913BF7-D61E-4738-B681-CC051595FB41}"/>
              </a:ext>
            </a:extLst>
          </p:cNvPr>
          <p:cNvSpPr/>
          <p:nvPr/>
        </p:nvSpPr>
        <p:spPr>
          <a:xfrm rot="2708860">
            <a:off x="8464639" y="471623"/>
            <a:ext cx="5644297" cy="6612121"/>
          </a:xfrm>
          <a:custGeom>
            <a:avLst/>
            <a:gdLst>
              <a:gd name="connsiteX0" fmla="*/ 1 w 5644297"/>
              <a:gd name="connsiteY0" fmla="*/ 786521 h 6612121"/>
              <a:gd name="connsiteX1" fmla="*/ 782478 w 5644297"/>
              <a:gd name="connsiteY1" fmla="*/ 0 h 6612121"/>
              <a:gd name="connsiteX2" fmla="*/ 5644297 w 5644297"/>
              <a:gd name="connsiteY2" fmla="*/ 4836823 h 6612121"/>
              <a:gd name="connsiteX3" fmla="*/ 3878127 w 5644297"/>
              <a:gd name="connsiteY3" fmla="*/ 6612120 h 6612121"/>
              <a:gd name="connsiteX4" fmla="*/ 286177 w 5644297"/>
              <a:gd name="connsiteY4" fmla="*/ 6612121 h 6612121"/>
              <a:gd name="connsiteX5" fmla="*/ 0 w 5644297"/>
              <a:gd name="connsiteY5" fmla="*/ 6325944 h 66121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644297" h="6612121">
                <a:moveTo>
                  <a:pt x="1" y="786521"/>
                </a:moveTo>
                <a:lnTo>
                  <a:pt x="782478" y="0"/>
                </a:lnTo>
                <a:lnTo>
                  <a:pt x="5644297" y="4836823"/>
                </a:lnTo>
                <a:lnTo>
                  <a:pt x="3878127" y="6612120"/>
                </a:lnTo>
                <a:lnTo>
                  <a:pt x="286177" y="6612121"/>
                </a:lnTo>
                <a:cubicBezTo>
                  <a:pt x="128126" y="6612121"/>
                  <a:pt x="0" y="6483995"/>
                  <a:pt x="0" y="6325944"/>
                </a:cubicBezTo>
                <a:close/>
              </a:path>
            </a:pathLst>
          </a:custGeom>
          <a:gradFill>
            <a:gsLst>
              <a:gs pos="0">
                <a:srgbClr val="295E7B">
                  <a:alpha val="75000"/>
                </a:srgbClr>
              </a:gs>
              <a:gs pos="100000">
                <a:srgbClr val="3B87B1">
                  <a:alpha val="90000"/>
                </a:srgb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6" name="Freeform: Shape 25">
            <a:extLst>
              <a:ext uri="{FF2B5EF4-FFF2-40B4-BE49-F238E27FC236}">
                <a16:creationId xmlns:a16="http://schemas.microsoft.com/office/drawing/2014/main" id="{AC86867E-5327-4F1A-9106-5BCF073FA863}"/>
              </a:ext>
            </a:extLst>
          </p:cNvPr>
          <p:cNvSpPr/>
          <p:nvPr/>
        </p:nvSpPr>
        <p:spPr>
          <a:xfrm rot="2708860">
            <a:off x="8289074" y="398635"/>
            <a:ext cx="5995429" cy="6262796"/>
          </a:xfrm>
          <a:custGeom>
            <a:avLst/>
            <a:gdLst>
              <a:gd name="connsiteX0" fmla="*/ 0 w 5995429"/>
              <a:gd name="connsiteY0" fmla="*/ 1139468 h 6262796"/>
              <a:gd name="connsiteX1" fmla="*/ 1133609 w 5995429"/>
              <a:gd name="connsiteY1" fmla="*/ 0 h 6262796"/>
              <a:gd name="connsiteX2" fmla="*/ 5995429 w 5995429"/>
              <a:gd name="connsiteY2" fmla="*/ 4836824 h 6262796"/>
              <a:gd name="connsiteX3" fmla="*/ 4576789 w 5995429"/>
              <a:gd name="connsiteY3" fmla="*/ 6262796 h 6262796"/>
              <a:gd name="connsiteX4" fmla="*/ 286177 w 5995429"/>
              <a:gd name="connsiteY4" fmla="*/ 6262796 h 6262796"/>
              <a:gd name="connsiteX5" fmla="*/ 0 w 5995429"/>
              <a:gd name="connsiteY5" fmla="*/ 5976619 h 62627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995429" h="6262796">
                <a:moveTo>
                  <a:pt x="0" y="1139468"/>
                </a:moveTo>
                <a:lnTo>
                  <a:pt x="1133609" y="0"/>
                </a:lnTo>
                <a:lnTo>
                  <a:pt x="5995429" y="4836824"/>
                </a:lnTo>
                <a:lnTo>
                  <a:pt x="4576789" y="6262796"/>
                </a:lnTo>
                <a:lnTo>
                  <a:pt x="286177" y="6262796"/>
                </a:lnTo>
                <a:cubicBezTo>
                  <a:pt x="128126" y="6262796"/>
                  <a:pt x="0" y="6134670"/>
                  <a:pt x="0" y="5976619"/>
                </a:cubicBezTo>
                <a:close/>
              </a:path>
            </a:pathLst>
          </a:custGeom>
          <a:noFill/>
          <a:ln>
            <a:solidFill>
              <a:srgbClr val="97C4D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grpSp>
        <p:nvGrpSpPr>
          <p:cNvPr id="47" name="Group 46">
            <a:extLst>
              <a:ext uri="{FF2B5EF4-FFF2-40B4-BE49-F238E27FC236}">
                <a16:creationId xmlns:a16="http://schemas.microsoft.com/office/drawing/2014/main" id="{36422FE6-41DD-459C-8184-141FB72642C7}"/>
              </a:ext>
            </a:extLst>
          </p:cNvPr>
          <p:cNvGrpSpPr/>
          <p:nvPr/>
        </p:nvGrpSpPr>
        <p:grpSpPr>
          <a:xfrm>
            <a:off x="765963" y="1894649"/>
            <a:ext cx="5834861" cy="3068702"/>
            <a:chOff x="765963" y="2081746"/>
            <a:chExt cx="5834861" cy="3068702"/>
          </a:xfrm>
        </p:grpSpPr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F05EEB8F-1D09-434D-913A-C8B4D8340850}"/>
                </a:ext>
              </a:extLst>
            </p:cNvPr>
            <p:cNvSpPr txBox="1"/>
            <p:nvPr/>
          </p:nvSpPr>
          <p:spPr>
            <a:xfrm>
              <a:off x="765963" y="2616526"/>
              <a:ext cx="5834861" cy="184665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6000" b="1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Multiple project timelines</a:t>
              </a:r>
            </a:p>
          </p:txBody>
        </p:sp>
        <p:grpSp>
          <p:nvGrpSpPr>
            <p:cNvPr id="28" name="Graphic 45">
              <a:extLst>
                <a:ext uri="{FF2B5EF4-FFF2-40B4-BE49-F238E27FC236}">
                  <a16:creationId xmlns:a16="http://schemas.microsoft.com/office/drawing/2014/main" id="{76FBB1F2-EE73-45D1-830B-F37C12035E75}"/>
                </a:ext>
              </a:extLst>
            </p:cNvPr>
            <p:cNvGrpSpPr/>
            <p:nvPr/>
          </p:nvGrpSpPr>
          <p:grpSpPr>
            <a:xfrm>
              <a:off x="765964" y="2081746"/>
              <a:ext cx="1601478" cy="452176"/>
              <a:chOff x="4500562" y="3242309"/>
              <a:chExt cx="3194684" cy="902017"/>
            </a:xfrm>
            <a:solidFill>
              <a:srgbClr val="FFFFFF"/>
            </a:solidFill>
          </p:grpSpPr>
          <p:sp>
            <p:nvSpPr>
              <p:cNvPr id="29" name="Freeform: Shape 28">
                <a:extLst>
                  <a:ext uri="{FF2B5EF4-FFF2-40B4-BE49-F238E27FC236}">
                    <a16:creationId xmlns:a16="http://schemas.microsoft.com/office/drawing/2014/main" id="{76921249-3885-4A7F-B831-2A97FD433F77}"/>
                  </a:ext>
                </a:extLst>
              </p:cNvPr>
              <p:cNvSpPr/>
              <p:nvPr/>
            </p:nvSpPr>
            <p:spPr>
              <a:xfrm>
                <a:off x="4500562" y="3245167"/>
                <a:ext cx="449597" cy="703897"/>
              </a:xfrm>
              <a:custGeom>
                <a:avLst/>
                <a:gdLst>
                  <a:gd name="connsiteX0" fmla="*/ 319088 w 449597"/>
                  <a:gd name="connsiteY0" fmla="*/ 348671 h 703897"/>
                  <a:gd name="connsiteX1" fmla="*/ 221933 w 449597"/>
                  <a:gd name="connsiteY1" fmla="*/ 409631 h 703897"/>
                  <a:gd name="connsiteX2" fmla="*/ 80963 w 449597"/>
                  <a:gd name="connsiteY2" fmla="*/ 609656 h 703897"/>
                  <a:gd name="connsiteX3" fmla="*/ 80963 w 449597"/>
                  <a:gd name="connsiteY3" fmla="*/ 629659 h 703897"/>
                  <a:gd name="connsiteX4" fmla="*/ 421005 w 449597"/>
                  <a:gd name="connsiteY4" fmla="*/ 629659 h 703897"/>
                  <a:gd name="connsiteX5" fmla="*/ 441008 w 449597"/>
                  <a:gd name="connsiteY5" fmla="*/ 645851 h 703897"/>
                  <a:gd name="connsiteX6" fmla="*/ 441008 w 449597"/>
                  <a:gd name="connsiteY6" fmla="*/ 686809 h 703897"/>
                  <a:gd name="connsiteX7" fmla="*/ 421005 w 449597"/>
                  <a:gd name="connsiteY7" fmla="*/ 703954 h 703897"/>
                  <a:gd name="connsiteX8" fmla="*/ 20003 w 449597"/>
                  <a:gd name="connsiteY8" fmla="*/ 703954 h 703897"/>
                  <a:gd name="connsiteX9" fmla="*/ 0 w 449597"/>
                  <a:gd name="connsiteY9" fmla="*/ 685856 h 703897"/>
                  <a:gd name="connsiteX10" fmla="*/ 0 w 449597"/>
                  <a:gd name="connsiteY10" fmla="*/ 609656 h 703897"/>
                  <a:gd name="connsiteX11" fmla="*/ 154305 w 449597"/>
                  <a:gd name="connsiteY11" fmla="*/ 362959 h 703897"/>
                  <a:gd name="connsiteX12" fmla="*/ 256223 w 449597"/>
                  <a:gd name="connsiteY12" fmla="*/ 299141 h 703897"/>
                  <a:gd name="connsiteX13" fmla="*/ 360045 w 449597"/>
                  <a:gd name="connsiteY13" fmla="*/ 167696 h 703897"/>
                  <a:gd name="connsiteX14" fmla="*/ 208598 w 449597"/>
                  <a:gd name="connsiteY14" fmla="*/ 71494 h 703897"/>
                  <a:gd name="connsiteX15" fmla="*/ 29528 w 449597"/>
                  <a:gd name="connsiteY15" fmla="*/ 85781 h 703897"/>
                  <a:gd name="connsiteX16" fmla="*/ 25718 w 449597"/>
                  <a:gd name="connsiteY16" fmla="*/ 85781 h 703897"/>
                  <a:gd name="connsiteX17" fmla="*/ 9525 w 449597"/>
                  <a:gd name="connsiteY17" fmla="*/ 68636 h 703897"/>
                  <a:gd name="connsiteX18" fmla="*/ 9525 w 449597"/>
                  <a:gd name="connsiteY18" fmla="*/ 36251 h 703897"/>
                  <a:gd name="connsiteX19" fmla="*/ 28575 w 449597"/>
                  <a:gd name="connsiteY19" fmla="*/ 19106 h 703897"/>
                  <a:gd name="connsiteX20" fmla="*/ 208598 w 449597"/>
                  <a:gd name="connsiteY20" fmla="*/ 56 h 703897"/>
                  <a:gd name="connsiteX21" fmla="*/ 449580 w 449597"/>
                  <a:gd name="connsiteY21" fmla="*/ 167696 h 703897"/>
                  <a:gd name="connsiteX22" fmla="*/ 319088 w 449597"/>
                  <a:gd name="connsiteY22" fmla="*/ 348671 h 7038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449597" h="703897">
                    <a:moveTo>
                      <a:pt x="319088" y="348671"/>
                    </a:moveTo>
                    <a:lnTo>
                      <a:pt x="221933" y="409631"/>
                    </a:lnTo>
                    <a:cubicBezTo>
                      <a:pt x="109538" y="480116"/>
                      <a:pt x="80963" y="527741"/>
                      <a:pt x="80963" y="609656"/>
                    </a:cubicBezTo>
                    <a:lnTo>
                      <a:pt x="80963" y="629659"/>
                    </a:lnTo>
                    <a:lnTo>
                      <a:pt x="421005" y="629659"/>
                    </a:lnTo>
                    <a:cubicBezTo>
                      <a:pt x="432435" y="629659"/>
                      <a:pt x="441008" y="635374"/>
                      <a:pt x="441008" y="645851"/>
                    </a:cubicBezTo>
                    <a:lnTo>
                      <a:pt x="441008" y="686809"/>
                    </a:lnTo>
                    <a:cubicBezTo>
                      <a:pt x="441008" y="697286"/>
                      <a:pt x="431483" y="703954"/>
                      <a:pt x="421005" y="703954"/>
                    </a:cubicBezTo>
                    <a:lnTo>
                      <a:pt x="20003" y="703954"/>
                    </a:lnTo>
                    <a:cubicBezTo>
                      <a:pt x="8573" y="703954"/>
                      <a:pt x="0" y="696334"/>
                      <a:pt x="0" y="685856"/>
                    </a:cubicBezTo>
                    <a:lnTo>
                      <a:pt x="0" y="609656"/>
                    </a:lnTo>
                    <a:cubicBezTo>
                      <a:pt x="0" y="512501"/>
                      <a:pt x="44768" y="431539"/>
                      <a:pt x="154305" y="362959"/>
                    </a:cubicBezTo>
                    <a:lnTo>
                      <a:pt x="256223" y="299141"/>
                    </a:lnTo>
                    <a:cubicBezTo>
                      <a:pt x="340043" y="246754"/>
                      <a:pt x="360045" y="223894"/>
                      <a:pt x="360045" y="167696"/>
                    </a:cubicBezTo>
                    <a:cubicBezTo>
                      <a:pt x="360045" y="100069"/>
                      <a:pt x="317183" y="71494"/>
                      <a:pt x="208598" y="71494"/>
                    </a:cubicBezTo>
                    <a:cubicBezTo>
                      <a:pt x="156210" y="71494"/>
                      <a:pt x="86678" y="78161"/>
                      <a:pt x="29528" y="85781"/>
                    </a:cubicBezTo>
                    <a:cubicBezTo>
                      <a:pt x="28575" y="85781"/>
                      <a:pt x="27623" y="85781"/>
                      <a:pt x="25718" y="85781"/>
                    </a:cubicBezTo>
                    <a:cubicBezTo>
                      <a:pt x="15240" y="85781"/>
                      <a:pt x="9525" y="79114"/>
                      <a:pt x="9525" y="68636"/>
                    </a:cubicBezTo>
                    <a:lnTo>
                      <a:pt x="9525" y="36251"/>
                    </a:lnTo>
                    <a:cubicBezTo>
                      <a:pt x="9525" y="26726"/>
                      <a:pt x="19050" y="21011"/>
                      <a:pt x="28575" y="19106"/>
                    </a:cubicBezTo>
                    <a:cubicBezTo>
                      <a:pt x="80010" y="6723"/>
                      <a:pt x="148590" y="56"/>
                      <a:pt x="208598" y="56"/>
                    </a:cubicBezTo>
                    <a:cubicBezTo>
                      <a:pt x="372428" y="56"/>
                      <a:pt x="449580" y="52444"/>
                      <a:pt x="449580" y="167696"/>
                    </a:cubicBezTo>
                    <a:cubicBezTo>
                      <a:pt x="450533" y="241991"/>
                      <a:pt x="413385" y="289616"/>
                      <a:pt x="319088" y="348671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0" name="Freeform: Shape 29">
                <a:extLst>
                  <a:ext uri="{FF2B5EF4-FFF2-40B4-BE49-F238E27FC236}">
                    <a16:creationId xmlns:a16="http://schemas.microsoft.com/office/drawing/2014/main" id="{1F8512D4-E0A9-4866-A3A2-6F59BB4AF010}"/>
                  </a:ext>
                </a:extLst>
              </p:cNvPr>
              <p:cNvSpPr/>
              <p:nvPr/>
            </p:nvSpPr>
            <p:spPr>
              <a:xfrm>
                <a:off x="4755831" y="3411854"/>
                <a:ext cx="517207" cy="732472"/>
              </a:xfrm>
              <a:custGeom>
                <a:avLst/>
                <a:gdLst>
                  <a:gd name="connsiteX0" fmla="*/ 497205 w 517207"/>
                  <a:gd name="connsiteY0" fmla="*/ 537266 h 732472"/>
                  <a:gd name="connsiteX1" fmla="*/ 412433 w 517207"/>
                  <a:gd name="connsiteY1" fmla="*/ 537266 h 732472"/>
                  <a:gd name="connsiteX2" fmla="*/ 412433 w 517207"/>
                  <a:gd name="connsiteY2" fmla="*/ 712526 h 732472"/>
                  <a:gd name="connsiteX3" fmla="*/ 396240 w 517207"/>
                  <a:gd name="connsiteY3" fmla="*/ 732529 h 732472"/>
                  <a:gd name="connsiteX4" fmla="*/ 339090 w 517207"/>
                  <a:gd name="connsiteY4" fmla="*/ 732529 h 732472"/>
                  <a:gd name="connsiteX5" fmla="*/ 322898 w 517207"/>
                  <a:gd name="connsiteY5" fmla="*/ 712526 h 732472"/>
                  <a:gd name="connsiteX6" fmla="*/ 322898 w 517207"/>
                  <a:gd name="connsiteY6" fmla="*/ 537266 h 732472"/>
                  <a:gd name="connsiteX7" fmla="*/ 40005 w 517207"/>
                  <a:gd name="connsiteY7" fmla="*/ 537266 h 732472"/>
                  <a:gd name="connsiteX8" fmla="*/ 0 w 517207"/>
                  <a:gd name="connsiteY8" fmla="*/ 499166 h 732472"/>
                  <a:gd name="connsiteX9" fmla="*/ 0 w 517207"/>
                  <a:gd name="connsiteY9" fmla="*/ 461066 h 732472"/>
                  <a:gd name="connsiteX10" fmla="*/ 11430 w 517207"/>
                  <a:gd name="connsiteY10" fmla="*/ 424871 h 732472"/>
                  <a:gd name="connsiteX11" fmla="*/ 300990 w 517207"/>
                  <a:gd name="connsiteY11" fmla="*/ 16248 h 732472"/>
                  <a:gd name="connsiteX12" fmla="*/ 329565 w 517207"/>
                  <a:gd name="connsiteY12" fmla="*/ 56 h 732472"/>
                  <a:gd name="connsiteX13" fmla="*/ 387668 w 517207"/>
                  <a:gd name="connsiteY13" fmla="*/ 56 h 732472"/>
                  <a:gd name="connsiteX14" fmla="*/ 413385 w 517207"/>
                  <a:gd name="connsiteY14" fmla="*/ 21963 h 732472"/>
                  <a:gd name="connsiteX15" fmla="*/ 413385 w 517207"/>
                  <a:gd name="connsiteY15" fmla="*/ 462018 h 732472"/>
                  <a:gd name="connsiteX16" fmla="*/ 498158 w 517207"/>
                  <a:gd name="connsiteY16" fmla="*/ 462018 h 732472"/>
                  <a:gd name="connsiteX17" fmla="*/ 517208 w 517207"/>
                  <a:gd name="connsiteY17" fmla="*/ 480116 h 732472"/>
                  <a:gd name="connsiteX18" fmla="*/ 517208 w 517207"/>
                  <a:gd name="connsiteY18" fmla="*/ 519168 h 732472"/>
                  <a:gd name="connsiteX19" fmla="*/ 497205 w 517207"/>
                  <a:gd name="connsiteY19" fmla="*/ 537266 h 732472"/>
                  <a:gd name="connsiteX20" fmla="*/ 322898 w 517207"/>
                  <a:gd name="connsiteY20" fmla="*/ 125786 h 732472"/>
                  <a:gd name="connsiteX21" fmla="*/ 319088 w 517207"/>
                  <a:gd name="connsiteY21" fmla="*/ 120071 h 732472"/>
                  <a:gd name="connsiteX22" fmla="*/ 318135 w 517207"/>
                  <a:gd name="connsiteY22" fmla="*/ 120071 h 732472"/>
                  <a:gd name="connsiteX23" fmla="*/ 310515 w 517207"/>
                  <a:gd name="connsiteY23" fmla="*/ 125786 h 732472"/>
                  <a:gd name="connsiteX24" fmla="*/ 84773 w 517207"/>
                  <a:gd name="connsiteY24" fmla="*/ 448684 h 732472"/>
                  <a:gd name="connsiteX25" fmla="*/ 81915 w 517207"/>
                  <a:gd name="connsiteY25" fmla="*/ 456303 h 732472"/>
                  <a:gd name="connsiteX26" fmla="*/ 89535 w 517207"/>
                  <a:gd name="connsiteY26" fmla="*/ 462018 h 732472"/>
                  <a:gd name="connsiteX27" fmla="*/ 322898 w 517207"/>
                  <a:gd name="connsiteY27" fmla="*/ 462018 h 732472"/>
                  <a:gd name="connsiteX28" fmla="*/ 322898 w 517207"/>
                  <a:gd name="connsiteY28" fmla="*/ 125786 h 7324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517207" h="732472">
                    <a:moveTo>
                      <a:pt x="497205" y="537266"/>
                    </a:moveTo>
                    <a:lnTo>
                      <a:pt x="412433" y="537266"/>
                    </a:lnTo>
                    <a:lnTo>
                      <a:pt x="412433" y="712526"/>
                    </a:lnTo>
                    <a:cubicBezTo>
                      <a:pt x="412433" y="722051"/>
                      <a:pt x="406718" y="732529"/>
                      <a:pt x="396240" y="732529"/>
                    </a:cubicBezTo>
                    <a:lnTo>
                      <a:pt x="339090" y="732529"/>
                    </a:lnTo>
                    <a:cubicBezTo>
                      <a:pt x="328613" y="732529"/>
                      <a:pt x="322898" y="723956"/>
                      <a:pt x="322898" y="712526"/>
                    </a:cubicBezTo>
                    <a:lnTo>
                      <a:pt x="322898" y="537266"/>
                    </a:lnTo>
                    <a:lnTo>
                      <a:pt x="40005" y="537266"/>
                    </a:lnTo>
                    <a:cubicBezTo>
                      <a:pt x="10478" y="537266"/>
                      <a:pt x="0" y="527741"/>
                      <a:pt x="0" y="499166"/>
                    </a:cubicBezTo>
                    <a:lnTo>
                      <a:pt x="0" y="461066"/>
                    </a:lnTo>
                    <a:cubicBezTo>
                      <a:pt x="0" y="448684"/>
                      <a:pt x="2858" y="436301"/>
                      <a:pt x="11430" y="424871"/>
                    </a:cubicBezTo>
                    <a:lnTo>
                      <a:pt x="300990" y="16248"/>
                    </a:lnTo>
                    <a:cubicBezTo>
                      <a:pt x="305753" y="8628"/>
                      <a:pt x="312420" y="56"/>
                      <a:pt x="329565" y="56"/>
                    </a:cubicBezTo>
                    <a:lnTo>
                      <a:pt x="387668" y="56"/>
                    </a:lnTo>
                    <a:cubicBezTo>
                      <a:pt x="402908" y="56"/>
                      <a:pt x="413385" y="6723"/>
                      <a:pt x="413385" y="21963"/>
                    </a:cubicBezTo>
                    <a:lnTo>
                      <a:pt x="413385" y="462018"/>
                    </a:lnTo>
                    <a:lnTo>
                      <a:pt x="498158" y="462018"/>
                    </a:lnTo>
                    <a:cubicBezTo>
                      <a:pt x="507683" y="462018"/>
                      <a:pt x="517208" y="468686"/>
                      <a:pt x="517208" y="480116"/>
                    </a:cubicBezTo>
                    <a:lnTo>
                      <a:pt x="517208" y="519168"/>
                    </a:lnTo>
                    <a:cubicBezTo>
                      <a:pt x="515303" y="530599"/>
                      <a:pt x="507683" y="537266"/>
                      <a:pt x="497205" y="537266"/>
                    </a:cubicBezTo>
                    <a:close/>
                    <a:moveTo>
                      <a:pt x="322898" y="125786"/>
                    </a:moveTo>
                    <a:cubicBezTo>
                      <a:pt x="322898" y="121976"/>
                      <a:pt x="321945" y="120071"/>
                      <a:pt x="319088" y="120071"/>
                    </a:cubicBezTo>
                    <a:cubicBezTo>
                      <a:pt x="318135" y="120071"/>
                      <a:pt x="318135" y="120071"/>
                      <a:pt x="318135" y="120071"/>
                    </a:cubicBezTo>
                    <a:cubicBezTo>
                      <a:pt x="315278" y="120071"/>
                      <a:pt x="312420" y="122929"/>
                      <a:pt x="310515" y="125786"/>
                    </a:cubicBezTo>
                    <a:lnTo>
                      <a:pt x="84773" y="448684"/>
                    </a:lnTo>
                    <a:cubicBezTo>
                      <a:pt x="82868" y="451541"/>
                      <a:pt x="81915" y="454399"/>
                      <a:pt x="81915" y="456303"/>
                    </a:cubicBezTo>
                    <a:cubicBezTo>
                      <a:pt x="81915" y="460114"/>
                      <a:pt x="84773" y="462018"/>
                      <a:pt x="89535" y="462018"/>
                    </a:cubicBezTo>
                    <a:lnTo>
                      <a:pt x="322898" y="462018"/>
                    </a:lnTo>
                    <a:lnTo>
                      <a:pt x="322898" y="125786"/>
                    </a:ln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grpSp>
            <p:nvGrpSpPr>
              <p:cNvPr id="31" name="Graphic 45">
                <a:extLst>
                  <a:ext uri="{FF2B5EF4-FFF2-40B4-BE49-F238E27FC236}">
                    <a16:creationId xmlns:a16="http://schemas.microsoft.com/office/drawing/2014/main" id="{515B8011-F559-41D2-94F3-C624903C10C5}"/>
                  </a:ext>
                </a:extLst>
              </p:cNvPr>
              <p:cNvGrpSpPr/>
              <p:nvPr/>
            </p:nvGrpSpPr>
            <p:grpSpPr>
              <a:xfrm>
                <a:off x="5822631" y="3242309"/>
                <a:ext cx="1872614" cy="713422"/>
                <a:chOff x="5822631" y="3242309"/>
                <a:chExt cx="1872614" cy="713422"/>
              </a:xfrm>
              <a:solidFill>
                <a:srgbClr val="FFFFFF"/>
              </a:solidFill>
            </p:grpSpPr>
            <p:sp>
              <p:nvSpPr>
                <p:cNvPr id="34" name="Freeform: Shape 33">
                  <a:extLst>
                    <a:ext uri="{FF2B5EF4-FFF2-40B4-BE49-F238E27FC236}">
                      <a16:creationId xmlns:a16="http://schemas.microsoft.com/office/drawing/2014/main" id="{980E21D8-5D32-4CFC-B1AD-168761A720C3}"/>
                    </a:ext>
                  </a:extLst>
                </p:cNvPr>
                <p:cNvSpPr/>
                <p:nvPr/>
              </p:nvSpPr>
              <p:spPr>
                <a:xfrm>
                  <a:off x="5822631" y="3248024"/>
                  <a:ext cx="84772" cy="701039"/>
                </a:xfrm>
                <a:custGeom>
                  <a:avLst/>
                  <a:gdLst>
                    <a:gd name="connsiteX0" fmla="*/ 80149 w 84772"/>
                    <a:gd name="connsiteY0" fmla="*/ 695381 h 701039"/>
                    <a:gd name="connsiteX1" fmla="*/ 67767 w 84772"/>
                    <a:gd name="connsiteY1" fmla="*/ 701096 h 701039"/>
                    <a:gd name="connsiteX2" fmla="*/ 17284 w 84772"/>
                    <a:gd name="connsiteY2" fmla="*/ 701096 h 701039"/>
                    <a:gd name="connsiteX3" fmla="*/ 4902 w 84772"/>
                    <a:gd name="connsiteY3" fmla="*/ 695381 h 701039"/>
                    <a:gd name="connsiteX4" fmla="*/ 139 w 84772"/>
                    <a:gd name="connsiteY4" fmla="*/ 682046 h 701039"/>
                    <a:gd name="connsiteX5" fmla="*/ 139 w 84772"/>
                    <a:gd name="connsiteY5" fmla="*/ 17201 h 701039"/>
                    <a:gd name="connsiteX6" fmla="*/ 4902 w 84772"/>
                    <a:gd name="connsiteY6" fmla="*/ 4819 h 701039"/>
                    <a:gd name="connsiteX7" fmla="*/ 17284 w 84772"/>
                    <a:gd name="connsiteY7" fmla="*/ 56 h 701039"/>
                    <a:gd name="connsiteX8" fmla="*/ 67767 w 84772"/>
                    <a:gd name="connsiteY8" fmla="*/ 56 h 701039"/>
                    <a:gd name="connsiteX9" fmla="*/ 80149 w 84772"/>
                    <a:gd name="connsiteY9" fmla="*/ 4819 h 701039"/>
                    <a:gd name="connsiteX10" fmla="*/ 84912 w 84772"/>
                    <a:gd name="connsiteY10" fmla="*/ 17201 h 701039"/>
                    <a:gd name="connsiteX11" fmla="*/ 84912 w 84772"/>
                    <a:gd name="connsiteY11" fmla="*/ 682046 h 701039"/>
                    <a:gd name="connsiteX12" fmla="*/ 80149 w 84772"/>
                    <a:gd name="connsiteY12" fmla="*/ 695381 h 70103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84772" h="701039">
                      <a:moveTo>
                        <a:pt x="80149" y="695381"/>
                      </a:moveTo>
                      <a:cubicBezTo>
                        <a:pt x="77292" y="699191"/>
                        <a:pt x="72529" y="701096"/>
                        <a:pt x="67767" y="701096"/>
                      </a:cubicBezTo>
                      <a:lnTo>
                        <a:pt x="17284" y="701096"/>
                      </a:lnTo>
                      <a:cubicBezTo>
                        <a:pt x="12522" y="701096"/>
                        <a:pt x="7759" y="699191"/>
                        <a:pt x="4902" y="695381"/>
                      </a:cubicBezTo>
                      <a:cubicBezTo>
                        <a:pt x="2044" y="691571"/>
                        <a:pt x="139" y="687761"/>
                        <a:pt x="139" y="682046"/>
                      </a:cubicBezTo>
                      <a:lnTo>
                        <a:pt x="139" y="17201"/>
                      </a:lnTo>
                      <a:cubicBezTo>
                        <a:pt x="139" y="12439"/>
                        <a:pt x="2044" y="7676"/>
                        <a:pt x="4902" y="4819"/>
                      </a:cubicBezTo>
                      <a:cubicBezTo>
                        <a:pt x="7759" y="1009"/>
                        <a:pt x="12522" y="56"/>
                        <a:pt x="17284" y="56"/>
                      </a:cubicBezTo>
                      <a:lnTo>
                        <a:pt x="67767" y="56"/>
                      </a:lnTo>
                      <a:cubicBezTo>
                        <a:pt x="72529" y="56"/>
                        <a:pt x="77292" y="1961"/>
                        <a:pt x="80149" y="4819"/>
                      </a:cubicBezTo>
                      <a:cubicBezTo>
                        <a:pt x="83007" y="8629"/>
                        <a:pt x="84912" y="12439"/>
                        <a:pt x="84912" y="17201"/>
                      </a:cubicBezTo>
                      <a:lnTo>
                        <a:pt x="84912" y="682046"/>
                      </a:lnTo>
                      <a:cubicBezTo>
                        <a:pt x="84912" y="687761"/>
                        <a:pt x="83007" y="691571"/>
                        <a:pt x="80149" y="695381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5" name="Freeform: Shape 34">
                  <a:extLst>
                    <a:ext uri="{FF2B5EF4-FFF2-40B4-BE49-F238E27FC236}">
                      <a16:creationId xmlns:a16="http://schemas.microsoft.com/office/drawing/2014/main" id="{7972AFE4-EA08-4E77-A9B8-09963B09E322}"/>
                    </a:ext>
                  </a:extLst>
                </p:cNvPr>
                <p:cNvSpPr/>
                <p:nvPr/>
              </p:nvSpPr>
              <p:spPr>
                <a:xfrm>
                  <a:off x="6061709" y="3242309"/>
                  <a:ext cx="87629" cy="706754"/>
                </a:xfrm>
                <a:custGeom>
                  <a:avLst/>
                  <a:gdLst>
                    <a:gd name="connsiteX0" fmla="*/ 82054 w 87629"/>
                    <a:gd name="connsiteY0" fmla="*/ 106736 h 706754"/>
                    <a:gd name="connsiteX1" fmla="*/ 68719 w 87629"/>
                    <a:gd name="connsiteY1" fmla="*/ 112451 h 706754"/>
                    <a:gd name="connsiteX2" fmla="*/ 19189 w 87629"/>
                    <a:gd name="connsiteY2" fmla="*/ 112451 h 706754"/>
                    <a:gd name="connsiteX3" fmla="*/ 5854 w 87629"/>
                    <a:gd name="connsiteY3" fmla="*/ 106736 h 706754"/>
                    <a:gd name="connsiteX4" fmla="*/ 139 w 87629"/>
                    <a:gd name="connsiteY4" fmla="*/ 93401 h 706754"/>
                    <a:gd name="connsiteX5" fmla="*/ 139 w 87629"/>
                    <a:gd name="connsiteY5" fmla="*/ 19106 h 706754"/>
                    <a:gd name="connsiteX6" fmla="*/ 5854 w 87629"/>
                    <a:gd name="connsiteY6" fmla="*/ 5771 h 706754"/>
                    <a:gd name="connsiteX7" fmla="*/ 19189 w 87629"/>
                    <a:gd name="connsiteY7" fmla="*/ 56 h 706754"/>
                    <a:gd name="connsiteX8" fmla="*/ 68719 w 87629"/>
                    <a:gd name="connsiteY8" fmla="*/ 56 h 706754"/>
                    <a:gd name="connsiteX9" fmla="*/ 82054 w 87629"/>
                    <a:gd name="connsiteY9" fmla="*/ 5771 h 706754"/>
                    <a:gd name="connsiteX10" fmla="*/ 87769 w 87629"/>
                    <a:gd name="connsiteY10" fmla="*/ 19106 h 706754"/>
                    <a:gd name="connsiteX11" fmla="*/ 87769 w 87629"/>
                    <a:gd name="connsiteY11" fmla="*/ 93401 h 706754"/>
                    <a:gd name="connsiteX12" fmla="*/ 82054 w 87629"/>
                    <a:gd name="connsiteY12" fmla="*/ 106736 h 706754"/>
                    <a:gd name="connsiteX13" fmla="*/ 80149 w 87629"/>
                    <a:gd name="connsiteY13" fmla="*/ 701096 h 706754"/>
                    <a:gd name="connsiteX14" fmla="*/ 66814 w 87629"/>
                    <a:gd name="connsiteY14" fmla="*/ 706811 h 706754"/>
                    <a:gd name="connsiteX15" fmla="*/ 20142 w 87629"/>
                    <a:gd name="connsiteY15" fmla="*/ 706811 h 706754"/>
                    <a:gd name="connsiteX16" fmla="*/ 6807 w 87629"/>
                    <a:gd name="connsiteY16" fmla="*/ 701096 h 706754"/>
                    <a:gd name="connsiteX17" fmla="*/ 1092 w 87629"/>
                    <a:gd name="connsiteY17" fmla="*/ 687761 h 706754"/>
                    <a:gd name="connsiteX18" fmla="*/ 1092 w 87629"/>
                    <a:gd name="connsiteY18" fmla="*/ 212464 h 706754"/>
                    <a:gd name="connsiteX19" fmla="*/ 6807 w 87629"/>
                    <a:gd name="connsiteY19" fmla="*/ 199129 h 706754"/>
                    <a:gd name="connsiteX20" fmla="*/ 20142 w 87629"/>
                    <a:gd name="connsiteY20" fmla="*/ 193414 h 706754"/>
                    <a:gd name="connsiteX21" fmla="*/ 66814 w 87629"/>
                    <a:gd name="connsiteY21" fmla="*/ 193414 h 706754"/>
                    <a:gd name="connsiteX22" fmla="*/ 80149 w 87629"/>
                    <a:gd name="connsiteY22" fmla="*/ 199129 h 706754"/>
                    <a:gd name="connsiteX23" fmla="*/ 85864 w 87629"/>
                    <a:gd name="connsiteY23" fmla="*/ 212464 h 706754"/>
                    <a:gd name="connsiteX24" fmla="*/ 85864 w 87629"/>
                    <a:gd name="connsiteY24" fmla="*/ 687761 h 706754"/>
                    <a:gd name="connsiteX25" fmla="*/ 80149 w 87629"/>
                    <a:gd name="connsiteY25" fmla="*/ 701096 h 70675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</a:cxnLst>
                  <a:rect l="l" t="t" r="r" b="b"/>
                  <a:pathLst>
                    <a:path w="87629" h="706754">
                      <a:moveTo>
                        <a:pt x="82054" y="106736"/>
                      </a:moveTo>
                      <a:cubicBezTo>
                        <a:pt x="78244" y="110546"/>
                        <a:pt x="73481" y="112451"/>
                        <a:pt x="68719" y="112451"/>
                      </a:cubicBezTo>
                      <a:lnTo>
                        <a:pt x="19189" y="112451"/>
                      </a:lnTo>
                      <a:cubicBezTo>
                        <a:pt x="14427" y="112451"/>
                        <a:pt x="9664" y="110546"/>
                        <a:pt x="5854" y="106736"/>
                      </a:cubicBezTo>
                      <a:cubicBezTo>
                        <a:pt x="2044" y="102926"/>
                        <a:pt x="139" y="99116"/>
                        <a:pt x="139" y="93401"/>
                      </a:cubicBezTo>
                      <a:lnTo>
                        <a:pt x="139" y="19106"/>
                      </a:lnTo>
                      <a:cubicBezTo>
                        <a:pt x="139" y="14344"/>
                        <a:pt x="2044" y="9581"/>
                        <a:pt x="5854" y="5771"/>
                      </a:cubicBezTo>
                      <a:cubicBezTo>
                        <a:pt x="9664" y="1961"/>
                        <a:pt x="14427" y="56"/>
                        <a:pt x="19189" y="56"/>
                      </a:cubicBezTo>
                      <a:lnTo>
                        <a:pt x="68719" y="56"/>
                      </a:lnTo>
                      <a:cubicBezTo>
                        <a:pt x="73481" y="56"/>
                        <a:pt x="78244" y="1961"/>
                        <a:pt x="82054" y="5771"/>
                      </a:cubicBezTo>
                      <a:cubicBezTo>
                        <a:pt x="85864" y="9581"/>
                        <a:pt x="87769" y="13391"/>
                        <a:pt x="87769" y="19106"/>
                      </a:cubicBezTo>
                      <a:lnTo>
                        <a:pt x="87769" y="93401"/>
                      </a:lnTo>
                      <a:cubicBezTo>
                        <a:pt x="87769" y="98164"/>
                        <a:pt x="85864" y="102926"/>
                        <a:pt x="82054" y="106736"/>
                      </a:cubicBezTo>
                      <a:close/>
                      <a:moveTo>
                        <a:pt x="80149" y="701096"/>
                      </a:moveTo>
                      <a:cubicBezTo>
                        <a:pt x="76339" y="704906"/>
                        <a:pt x="71577" y="706811"/>
                        <a:pt x="66814" y="706811"/>
                      </a:cubicBezTo>
                      <a:lnTo>
                        <a:pt x="20142" y="706811"/>
                      </a:lnTo>
                      <a:cubicBezTo>
                        <a:pt x="15379" y="706811"/>
                        <a:pt x="10617" y="704906"/>
                        <a:pt x="6807" y="701096"/>
                      </a:cubicBezTo>
                      <a:cubicBezTo>
                        <a:pt x="2997" y="697286"/>
                        <a:pt x="1092" y="693476"/>
                        <a:pt x="1092" y="687761"/>
                      </a:cubicBezTo>
                      <a:lnTo>
                        <a:pt x="1092" y="212464"/>
                      </a:lnTo>
                      <a:cubicBezTo>
                        <a:pt x="1092" y="207701"/>
                        <a:pt x="2997" y="202939"/>
                        <a:pt x="6807" y="199129"/>
                      </a:cubicBezTo>
                      <a:cubicBezTo>
                        <a:pt x="10617" y="195319"/>
                        <a:pt x="15379" y="193414"/>
                        <a:pt x="20142" y="193414"/>
                      </a:cubicBezTo>
                      <a:lnTo>
                        <a:pt x="66814" y="193414"/>
                      </a:lnTo>
                      <a:cubicBezTo>
                        <a:pt x="71577" y="193414"/>
                        <a:pt x="76339" y="195319"/>
                        <a:pt x="80149" y="199129"/>
                      </a:cubicBezTo>
                      <a:cubicBezTo>
                        <a:pt x="83959" y="202939"/>
                        <a:pt x="85864" y="206749"/>
                        <a:pt x="85864" y="212464"/>
                      </a:cubicBezTo>
                      <a:lnTo>
                        <a:pt x="85864" y="687761"/>
                      </a:lnTo>
                      <a:cubicBezTo>
                        <a:pt x="85864" y="693476"/>
                        <a:pt x="83959" y="697286"/>
                        <a:pt x="80149" y="701096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6" name="Freeform: Shape 35">
                  <a:extLst>
                    <a:ext uri="{FF2B5EF4-FFF2-40B4-BE49-F238E27FC236}">
                      <a16:creationId xmlns:a16="http://schemas.microsoft.com/office/drawing/2014/main" id="{8900B608-F9A6-49B3-8A35-C23DF62A65A0}"/>
                    </a:ext>
                  </a:extLst>
                </p:cNvPr>
                <p:cNvSpPr/>
                <p:nvPr/>
              </p:nvSpPr>
              <p:spPr>
                <a:xfrm>
                  <a:off x="6275069" y="3248977"/>
                  <a:ext cx="414337" cy="706755"/>
                </a:xfrm>
                <a:custGeom>
                  <a:avLst/>
                  <a:gdLst>
                    <a:gd name="connsiteX0" fmla="*/ 410667 w 414337"/>
                    <a:gd name="connsiteY0" fmla="*/ 683951 h 706755"/>
                    <a:gd name="connsiteX1" fmla="*/ 393522 w 414337"/>
                    <a:gd name="connsiteY1" fmla="*/ 690619 h 706755"/>
                    <a:gd name="connsiteX2" fmla="*/ 303034 w 414337"/>
                    <a:gd name="connsiteY2" fmla="*/ 703001 h 706755"/>
                    <a:gd name="connsiteX3" fmla="*/ 213499 w 414337"/>
                    <a:gd name="connsiteY3" fmla="*/ 706811 h 706755"/>
                    <a:gd name="connsiteX4" fmla="*/ 118249 w 414337"/>
                    <a:gd name="connsiteY4" fmla="*/ 690619 h 706755"/>
                    <a:gd name="connsiteX5" fmla="*/ 51574 w 414337"/>
                    <a:gd name="connsiteY5" fmla="*/ 643946 h 706755"/>
                    <a:gd name="connsiteX6" fmla="*/ 12521 w 414337"/>
                    <a:gd name="connsiteY6" fmla="*/ 571556 h 706755"/>
                    <a:gd name="connsiteX7" fmla="*/ 139 w 414337"/>
                    <a:gd name="connsiteY7" fmla="*/ 477259 h 706755"/>
                    <a:gd name="connsiteX8" fmla="*/ 139 w 414337"/>
                    <a:gd name="connsiteY8" fmla="*/ 410584 h 706755"/>
                    <a:gd name="connsiteX9" fmla="*/ 53479 w 414337"/>
                    <a:gd name="connsiteY9" fmla="*/ 241039 h 706755"/>
                    <a:gd name="connsiteX10" fmla="*/ 214452 w 414337"/>
                    <a:gd name="connsiteY10" fmla="*/ 181984 h 706755"/>
                    <a:gd name="connsiteX11" fmla="*/ 268744 w 414337"/>
                    <a:gd name="connsiteY11" fmla="*/ 183889 h 706755"/>
                    <a:gd name="connsiteX12" fmla="*/ 328752 w 414337"/>
                    <a:gd name="connsiteY12" fmla="*/ 190556 h 706755"/>
                    <a:gd name="connsiteX13" fmla="*/ 328752 w 414337"/>
                    <a:gd name="connsiteY13" fmla="*/ 17201 h 706755"/>
                    <a:gd name="connsiteX14" fmla="*/ 334467 w 414337"/>
                    <a:gd name="connsiteY14" fmla="*/ 4819 h 706755"/>
                    <a:gd name="connsiteX15" fmla="*/ 347802 w 414337"/>
                    <a:gd name="connsiteY15" fmla="*/ 56 h 706755"/>
                    <a:gd name="connsiteX16" fmla="*/ 397332 w 414337"/>
                    <a:gd name="connsiteY16" fmla="*/ 56 h 706755"/>
                    <a:gd name="connsiteX17" fmla="*/ 409714 w 414337"/>
                    <a:gd name="connsiteY17" fmla="*/ 4819 h 706755"/>
                    <a:gd name="connsiteX18" fmla="*/ 414477 w 414337"/>
                    <a:gd name="connsiteY18" fmla="*/ 17201 h 706755"/>
                    <a:gd name="connsiteX19" fmla="*/ 414477 w 414337"/>
                    <a:gd name="connsiteY19" fmla="*/ 669664 h 706755"/>
                    <a:gd name="connsiteX20" fmla="*/ 410667 w 414337"/>
                    <a:gd name="connsiteY20" fmla="*/ 683951 h 706755"/>
                    <a:gd name="connsiteX21" fmla="*/ 327799 w 414337"/>
                    <a:gd name="connsiteY21" fmla="*/ 259136 h 706755"/>
                    <a:gd name="connsiteX22" fmla="*/ 269697 w 414337"/>
                    <a:gd name="connsiteY22" fmla="*/ 253421 h 706755"/>
                    <a:gd name="connsiteX23" fmla="*/ 212547 w 414337"/>
                    <a:gd name="connsiteY23" fmla="*/ 252469 h 706755"/>
                    <a:gd name="connsiteX24" fmla="*/ 113487 w 414337"/>
                    <a:gd name="connsiteY24" fmla="*/ 293426 h 706755"/>
                    <a:gd name="connsiteX25" fmla="*/ 85864 w 414337"/>
                    <a:gd name="connsiteY25" fmla="*/ 408679 h 706755"/>
                    <a:gd name="connsiteX26" fmla="*/ 85864 w 414337"/>
                    <a:gd name="connsiteY26" fmla="*/ 475354 h 706755"/>
                    <a:gd name="connsiteX27" fmla="*/ 113487 w 414337"/>
                    <a:gd name="connsiteY27" fmla="*/ 592511 h 706755"/>
                    <a:gd name="connsiteX28" fmla="*/ 213499 w 414337"/>
                    <a:gd name="connsiteY28" fmla="*/ 633469 h 706755"/>
                    <a:gd name="connsiteX29" fmla="*/ 270649 w 414337"/>
                    <a:gd name="connsiteY29" fmla="*/ 631564 h 706755"/>
                    <a:gd name="connsiteX30" fmla="*/ 327799 w 414337"/>
                    <a:gd name="connsiteY30" fmla="*/ 627754 h 706755"/>
                    <a:gd name="connsiteX31" fmla="*/ 327799 w 414337"/>
                    <a:gd name="connsiteY31" fmla="*/ 259136 h 70675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</a:cxnLst>
                  <a:rect l="l" t="t" r="r" b="b"/>
                  <a:pathLst>
                    <a:path w="414337" h="706755">
                      <a:moveTo>
                        <a:pt x="410667" y="683951"/>
                      </a:moveTo>
                      <a:cubicBezTo>
                        <a:pt x="408761" y="687761"/>
                        <a:pt x="403047" y="689666"/>
                        <a:pt x="393522" y="690619"/>
                      </a:cubicBezTo>
                      <a:cubicBezTo>
                        <a:pt x="363042" y="696334"/>
                        <a:pt x="332561" y="700144"/>
                        <a:pt x="303034" y="703001"/>
                      </a:cubicBezTo>
                      <a:cubicBezTo>
                        <a:pt x="273507" y="705859"/>
                        <a:pt x="243027" y="706811"/>
                        <a:pt x="213499" y="706811"/>
                      </a:cubicBezTo>
                      <a:cubicBezTo>
                        <a:pt x="177304" y="706811"/>
                        <a:pt x="144919" y="701096"/>
                        <a:pt x="118249" y="690619"/>
                      </a:cubicBezTo>
                      <a:cubicBezTo>
                        <a:pt x="91579" y="680141"/>
                        <a:pt x="69671" y="663949"/>
                        <a:pt x="51574" y="643946"/>
                      </a:cubicBezTo>
                      <a:cubicBezTo>
                        <a:pt x="33477" y="623944"/>
                        <a:pt x="21094" y="599179"/>
                        <a:pt x="12521" y="571556"/>
                      </a:cubicBezTo>
                      <a:cubicBezTo>
                        <a:pt x="3949" y="542981"/>
                        <a:pt x="139" y="511549"/>
                        <a:pt x="139" y="477259"/>
                      </a:cubicBezTo>
                      <a:lnTo>
                        <a:pt x="139" y="410584"/>
                      </a:lnTo>
                      <a:cubicBezTo>
                        <a:pt x="139" y="337241"/>
                        <a:pt x="18237" y="281044"/>
                        <a:pt x="53479" y="241039"/>
                      </a:cubicBezTo>
                      <a:cubicBezTo>
                        <a:pt x="88721" y="201986"/>
                        <a:pt x="142062" y="181984"/>
                        <a:pt x="214452" y="181984"/>
                      </a:cubicBezTo>
                      <a:cubicBezTo>
                        <a:pt x="229692" y="181984"/>
                        <a:pt x="247789" y="182936"/>
                        <a:pt x="268744" y="183889"/>
                      </a:cubicBezTo>
                      <a:cubicBezTo>
                        <a:pt x="289699" y="185794"/>
                        <a:pt x="309702" y="187699"/>
                        <a:pt x="328752" y="190556"/>
                      </a:cubicBezTo>
                      <a:lnTo>
                        <a:pt x="328752" y="17201"/>
                      </a:lnTo>
                      <a:cubicBezTo>
                        <a:pt x="328752" y="12439"/>
                        <a:pt x="330657" y="7676"/>
                        <a:pt x="334467" y="4819"/>
                      </a:cubicBezTo>
                      <a:cubicBezTo>
                        <a:pt x="338277" y="1008"/>
                        <a:pt x="342086" y="56"/>
                        <a:pt x="347802" y="56"/>
                      </a:cubicBezTo>
                      <a:lnTo>
                        <a:pt x="397332" y="56"/>
                      </a:lnTo>
                      <a:cubicBezTo>
                        <a:pt x="402094" y="56"/>
                        <a:pt x="406857" y="1961"/>
                        <a:pt x="409714" y="4819"/>
                      </a:cubicBezTo>
                      <a:cubicBezTo>
                        <a:pt x="412572" y="8629"/>
                        <a:pt x="414477" y="12439"/>
                        <a:pt x="414477" y="17201"/>
                      </a:cubicBezTo>
                      <a:lnTo>
                        <a:pt x="414477" y="669664"/>
                      </a:lnTo>
                      <a:cubicBezTo>
                        <a:pt x="413524" y="675379"/>
                        <a:pt x="412572" y="680141"/>
                        <a:pt x="410667" y="683951"/>
                      </a:cubicBezTo>
                      <a:close/>
                      <a:moveTo>
                        <a:pt x="327799" y="259136"/>
                      </a:moveTo>
                      <a:cubicBezTo>
                        <a:pt x="311607" y="256279"/>
                        <a:pt x="292557" y="254374"/>
                        <a:pt x="269697" y="253421"/>
                      </a:cubicBezTo>
                      <a:cubicBezTo>
                        <a:pt x="247789" y="252469"/>
                        <a:pt x="228739" y="252469"/>
                        <a:pt x="212547" y="252469"/>
                      </a:cubicBezTo>
                      <a:cubicBezTo>
                        <a:pt x="164922" y="252469"/>
                        <a:pt x="131584" y="265804"/>
                        <a:pt x="113487" y="293426"/>
                      </a:cubicBezTo>
                      <a:cubicBezTo>
                        <a:pt x="94437" y="321049"/>
                        <a:pt x="85864" y="359149"/>
                        <a:pt x="85864" y="408679"/>
                      </a:cubicBezTo>
                      <a:lnTo>
                        <a:pt x="85864" y="475354"/>
                      </a:lnTo>
                      <a:cubicBezTo>
                        <a:pt x="85864" y="525836"/>
                        <a:pt x="95389" y="565841"/>
                        <a:pt x="113487" y="592511"/>
                      </a:cubicBezTo>
                      <a:cubicBezTo>
                        <a:pt x="131584" y="620134"/>
                        <a:pt x="164922" y="633469"/>
                        <a:pt x="213499" y="633469"/>
                      </a:cubicBezTo>
                      <a:cubicBezTo>
                        <a:pt x="230644" y="633469"/>
                        <a:pt x="249694" y="632516"/>
                        <a:pt x="270649" y="631564"/>
                      </a:cubicBezTo>
                      <a:cubicBezTo>
                        <a:pt x="291604" y="630611"/>
                        <a:pt x="310654" y="628706"/>
                        <a:pt x="327799" y="627754"/>
                      </a:cubicBezTo>
                      <a:lnTo>
                        <a:pt x="327799" y="259136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7" name="Freeform: Shape 36">
                  <a:extLst>
                    <a:ext uri="{FF2B5EF4-FFF2-40B4-BE49-F238E27FC236}">
                      <a16:creationId xmlns:a16="http://schemas.microsoft.com/office/drawing/2014/main" id="{51FC35B6-780E-4054-8174-7C20A7995FB5}"/>
                    </a:ext>
                  </a:extLst>
                </p:cNvPr>
                <p:cNvSpPr/>
                <p:nvPr/>
              </p:nvSpPr>
              <p:spPr>
                <a:xfrm>
                  <a:off x="6804659" y="3428046"/>
                  <a:ext cx="433387" cy="525779"/>
                </a:xfrm>
                <a:custGeom>
                  <a:avLst/>
                  <a:gdLst>
                    <a:gd name="connsiteX0" fmla="*/ 413524 w 433387"/>
                    <a:gd name="connsiteY0" fmla="*/ 290569 h 525779"/>
                    <a:gd name="connsiteX1" fmla="*/ 85864 w 433387"/>
                    <a:gd name="connsiteY1" fmla="*/ 290569 h 525779"/>
                    <a:gd name="connsiteX2" fmla="*/ 85864 w 433387"/>
                    <a:gd name="connsiteY2" fmla="*/ 303904 h 525779"/>
                    <a:gd name="connsiteX3" fmla="*/ 120154 w 433387"/>
                    <a:gd name="connsiteY3" fmla="*/ 421061 h 525779"/>
                    <a:gd name="connsiteX4" fmla="*/ 222071 w 433387"/>
                    <a:gd name="connsiteY4" fmla="*/ 455351 h 525779"/>
                    <a:gd name="connsiteX5" fmla="*/ 313512 w 433387"/>
                    <a:gd name="connsiteY5" fmla="*/ 452494 h 525779"/>
                    <a:gd name="connsiteX6" fmla="*/ 396379 w 433387"/>
                    <a:gd name="connsiteY6" fmla="*/ 444874 h 525779"/>
                    <a:gd name="connsiteX7" fmla="*/ 401142 w 433387"/>
                    <a:gd name="connsiteY7" fmla="*/ 444874 h 525779"/>
                    <a:gd name="connsiteX8" fmla="*/ 411619 w 433387"/>
                    <a:gd name="connsiteY8" fmla="*/ 447731 h 525779"/>
                    <a:gd name="connsiteX9" fmla="*/ 416382 w 433387"/>
                    <a:gd name="connsiteY9" fmla="*/ 458209 h 525779"/>
                    <a:gd name="connsiteX10" fmla="*/ 416382 w 433387"/>
                    <a:gd name="connsiteY10" fmla="*/ 489641 h 525779"/>
                    <a:gd name="connsiteX11" fmla="*/ 412571 w 433387"/>
                    <a:gd name="connsiteY11" fmla="*/ 503929 h 525779"/>
                    <a:gd name="connsiteX12" fmla="*/ 397332 w 433387"/>
                    <a:gd name="connsiteY12" fmla="*/ 510596 h 525779"/>
                    <a:gd name="connsiteX13" fmla="*/ 313512 w 433387"/>
                    <a:gd name="connsiteY13" fmla="*/ 522026 h 525779"/>
                    <a:gd name="connsiteX14" fmla="*/ 222071 w 433387"/>
                    <a:gd name="connsiteY14" fmla="*/ 525836 h 525779"/>
                    <a:gd name="connsiteX15" fmla="*/ 140156 w 433387"/>
                    <a:gd name="connsiteY15" fmla="*/ 515359 h 525779"/>
                    <a:gd name="connsiteX16" fmla="*/ 68719 w 433387"/>
                    <a:gd name="connsiteY16" fmla="*/ 479163 h 525779"/>
                    <a:gd name="connsiteX17" fmla="*/ 19189 w 433387"/>
                    <a:gd name="connsiteY17" fmla="*/ 410584 h 525779"/>
                    <a:gd name="connsiteX18" fmla="*/ 139 w 433387"/>
                    <a:gd name="connsiteY18" fmla="*/ 301999 h 525779"/>
                    <a:gd name="connsiteX19" fmla="*/ 139 w 433387"/>
                    <a:gd name="connsiteY19" fmla="*/ 218179 h 525779"/>
                    <a:gd name="connsiteX20" fmla="*/ 56337 w 433387"/>
                    <a:gd name="connsiteY20" fmla="*/ 59111 h 525779"/>
                    <a:gd name="connsiteX21" fmla="*/ 218262 w 433387"/>
                    <a:gd name="connsiteY21" fmla="*/ 56 h 525779"/>
                    <a:gd name="connsiteX22" fmla="*/ 312559 w 433387"/>
                    <a:gd name="connsiteY22" fmla="*/ 15296 h 525779"/>
                    <a:gd name="connsiteX23" fmla="*/ 379234 w 433387"/>
                    <a:gd name="connsiteY23" fmla="*/ 59111 h 525779"/>
                    <a:gd name="connsiteX24" fmla="*/ 420192 w 433387"/>
                    <a:gd name="connsiteY24" fmla="*/ 127691 h 525779"/>
                    <a:gd name="connsiteX25" fmla="*/ 433526 w 433387"/>
                    <a:gd name="connsiteY25" fmla="*/ 217226 h 525779"/>
                    <a:gd name="connsiteX26" fmla="*/ 433526 w 433387"/>
                    <a:gd name="connsiteY26" fmla="*/ 267709 h 525779"/>
                    <a:gd name="connsiteX27" fmla="*/ 413524 w 433387"/>
                    <a:gd name="connsiteY27" fmla="*/ 290569 h 525779"/>
                    <a:gd name="connsiteX28" fmla="*/ 345896 w 433387"/>
                    <a:gd name="connsiteY28" fmla="*/ 220084 h 525779"/>
                    <a:gd name="connsiteX29" fmla="*/ 313512 w 433387"/>
                    <a:gd name="connsiteY29" fmla="*/ 107689 h 525779"/>
                    <a:gd name="connsiteX30" fmla="*/ 216356 w 433387"/>
                    <a:gd name="connsiteY30" fmla="*/ 74351 h 525779"/>
                    <a:gd name="connsiteX31" fmla="*/ 118249 w 433387"/>
                    <a:gd name="connsiteY31" fmla="*/ 109594 h 525779"/>
                    <a:gd name="connsiteX32" fmla="*/ 83959 w 433387"/>
                    <a:gd name="connsiteY32" fmla="*/ 220084 h 525779"/>
                    <a:gd name="connsiteX33" fmla="*/ 83959 w 433387"/>
                    <a:gd name="connsiteY33" fmla="*/ 228656 h 525779"/>
                    <a:gd name="connsiteX34" fmla="*/ 343992 w 433387"/>
                    <a:gd name="connsiteY34" fmla="*/ 228656 h 525779"/>
                    <a:gd name="connsiteX35" fmla="*/ 343992 w 433387"/>
                    <a:gd name="connsiteY35" fmla="*/ 220084 h 525779"/>
                    <a:gd name="connsiteX36" fmla="*/ 345896 w 433387"/>
                    <a:gd name="connsiteY36" fmla="*/ 220084 h 5257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</a:cxnLst>
                  <a:rect l="l" t="t" r="r" b="b"/>
                  <a:pathLst>
                    <a:path w="433387" h="525779">
                      <a:moveTo>
                        <a:pt x="413524" y="290569"/>
                      </a:moveTo>
                      <a:lnTo>
                        <a:pt x="85864" y="290569"/>
                      </a:lnTo>
                      <a:lnTo>
                        <a:pt x="85864" y="303904"/>
                      </a:lnTo>
                      <a:cubicBezTo>
                        <a:pt x="85864" y="359149"/>
                        <a:pt x="97294" y="398201"/>
                        <a:pt x="120154" y="421061"/>
                      </a:cubicBezTo>
                      <a:cubicBezTo>
                        <a:pt x="143014" y="443921"/>
                        <a:pt x="177304" y="455351"/>
                        <a:pt x="222071" y="455351"/>
                      </a:cubicBezTo>
                      <a:cubicBezTo>
                        <a:pt x="250646" y="455351"/>
                        <a:pt x="281126" y="454399"/>
                        <a:pt x="313512" y="452494"/>
                      </a:cubicBezTo>
                      <a:cubicBezTo>
                        <a:pt x="345896" y="450588"/>
                        <a:pt x="373519" y="447731"/>
                        <a:pt x="396379" y="444874"/>
                      </a:cubicBezTo>
                      <a:lnTo>
                        <a:pt x="401142" y="444874"/>
                      </a:lnTo>
                      <a:cubicBezTo>
                        <a:pt x="404951" y="444874"/>
                        <a:pt x="408762" y="445826"/>
                        <a:pt x="411619" y="447731"/>
                      </a:cubicBezTo>
                      <a:cubicBezTo>
                        <a:pt x="414476" y="449636"/>
                        <a:pt x="416382" y="453446"/>
                        <a:pt x="416382" y="458209"/>
                      </a:cubicBezTo>
                      <a:lnTo>
                        <a:pt x="416382" y="489641"/>
                      </a:lnTo>
                      <a:cubicBezTo>
                        <a:pt x="416382" y="496309"/>
                        <a:pt x="415429" y="501071"/>
                        <a:pt x="412571" y="503929"/>
                      </a:cubicBezTo>
                      <a:cubicBezTo>
                        <a:pt x="409714" y="507738"/>
                        <a:pt x="404951" y="509644"/>
                        <a:pt x="397332" y="510596"/>
                      </a:cubicBezTo>
                      <a:cubicBezTo>
                        <a:pt x="369709" y="515359"/>
                        <a:pt x="341134" y="519169"/>
                        <a:pt x="313512" y="522026"/>
                      </a:cubicBezTo>
                      <a:cubicBezTo>
                        <a:pt x="285889" y="524884"/>
                        <a:pt x="255409" y="525836"/>
                        <a:pt x="222071" y="525836"/>
                      </a:cubicBezTo>
                      <a:cubicBezTo>
                        <a:pt x="194449" y="525836"/>
                        <a:pt x="166827" y="522026"/>
                        <a:pt x="140156" y="515359"/>
                      </a:cubicBezTo>
                      <a:cubicBezTo>
                        <a:pt x="113487" y="508691"/>
                        <a:pt x="89674" y="496309"/>
                        <a:pt x="68719" y="479163"/>
                      </a:cubicBezTo>
                      <a:cubicBezTo>
                        <a:pt x="47764" y="462019"/>
                        <a:pt x="31571" y="439159"/>
                        <a:pt x="19189" y="410584"/>
                      </a:cubicBezTo>
                      <a:cubicBezTo>
                        <a:pt x="6806" y="382009"/>
                        <a:pt x="139" y="345814"/>
                        <a:pt x="139" y="301999"/>
                      </a:cubicBezTo>
                      <a:lnTo>
                        <a:pt x="139" y="218179"/>
                      </a:lnTo>
                      <a:cubicBezTo>
                        <a:pt x="139" y="151504"/>
                        <a:pt x="19189" y="98164"/>
                        <a:pt x="56337" y="59111"/>
                      </a:cubicBezTo>
                      <a:cubicBezTo>
                        <a:pt x="93484" y="20059"/>
                        <a:pt x="147777" y="56"/>
                        <a:pt x="218262" y="56"/>
                      </a:cubicBezTo>
                      <a:cubicBezTo>
                        <a:pt x="254457" y="56"/>
                        <a:pt x="285889" y="4819"/>
                        <a:pt x="312559" y="15296"/>
                      </a:cubicBezTo>
                      <a:cubicBezTo>
                        <a:pt x="339229" y="25774"/>
                        <a:pt x="362089" y="40061"/>
                        <a:pt x="379234" y="59111"/>
                      </a:cubicBezTo>
                      <a:cubicBezTo>
                        <a:pt x="397332" y="78161"/>
                        <a:pt x="410667" y="101021"/>
                        <a:pt x="420192" y="127691"/>
                      </a:cubicBezTo>
                      <a:cubicBezTo>
                        <a:pt x="429717" y="154361"/>
                        <a:pt x="433526" y="184841"/>
                        <a:pt x="433526" y="217226"/>
                      </a:cubicBezTo>
                      <a:lnTo>
                        <a:pt x="433526" y="267709"/>
                      </a:lnTo>
                      <a:cubicBezTo>
                        <a:pt x="432574" y="283901"/>
                        <a:pt x="425907" y="290569"/>
                        <a:pt x="413524" y="290569"/>
                      </a:cubicBezTo>
                      <a:close/>
                      <a:moveTo>
                        <a:pt x="345896" y="220084"/>
                      </a:moveTo>
                      <a:cubicBezTo>
                        <a:pt x="345896" y="167696"/>
                        <a:pt x="335419" y="129596"/>
                        <a:pt x="313512" y="107689"/>
                      </a:cubicBezTo>
                      <a:cubicBezTo>
                        <a:pt x="292557" y="85781"/>
                        <a:pt x="260171" y="74351"/>
                        <a:pt x="216356" y="74351"/>
                      </a:cubicBezTo>
                      <a:cubicBezTo>
                        <a:pt x="173494" y="74351"/>
                        <a:pt x="141109" y="85781"/>
                        <a:pt x="118249" y="109594"/>
                      </a:cubicBezTo>
                      <a:cubicBezTo>
                        <a:pt x="95389" y="133406"/>
                        <a:pt x="83959" y="170554"/>
                        <a:pt x="83959" y="220084"/>
                      </a:cubicBezTo>
                      <a:lnTo>
                        <a:pt x="83959" y="228656"/>
                      </a:lnTo>
                      <a:lnTo>
                        <a:pt x="343992" y="228656"/>
                      </a:lnTo>
                      <a:lnTo>
                        <a:pt x="343992" y="220084"/>
                      </a:lnTo>
                      <a:lnTo>
                        <a:pt x="345896" y="220084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8" name="Freeform: Shape 37">
                  <a:extLst>
                    <a:ext uri="{FF2B5EF4-FFF2-40B4-BE49-F238E27FC236}">
                      <a16:creationId xmlns:a16="http://schemas.microsoft.com/office/drawing/2014/main" id="{50502711-2FDC-47F8-BD32-C12D90E651E5}"/>
                    </a:ext>
                  </a:extLst>
                </p:cNvPr>
                <p:cNvSpPr/>
                <p:nvPr/>
              </p:nvSpPr>
              <p:spPr>
                <a:xfrm>
                  <a:off x="7337107" y="3428999"/>
                  <a:ext cx="358139" cy="526732"/>
                </a:xfrm>
                <a:custGeom>
                  <a:avLst/>
                  <a:gdLst>
                    <a:gd name="connsiteX0" fmla="*/ 358279 w 358139"/>
                    <a:gd name="connsiteY0" fmla="*/ 391534 h 526732"/>
                    <a:gd name="connsiteX1" fmla="*/ 307797 w 358139"/>
                    <a:gd name="connsiteY1" fmla="*/ 494404 h 526732"/>
                    <a:gd name="connsiteX2" fmla="*/ 175399 w 358139"/>
                    <a:gd name="connsiteY2" fmla="*/ 526789 h 526732"/>
                    <a:gd name="connsiteX3" fmla="*/ 143014 w 358139"/>
                    <a:gd name="connsiteY3" fmla="*/ 526789 h 526732"/>
                    <a:gd name="connsiteX4" fmla="*/ 103009 w 358139"/>
                    <a:gd name="connsiteY4" fmla="*/ 524884 h 526732"/>
                    <a:gd name="connsiteX5" fmla="*/ 60147 w 358139"/>
                    <a:gd name="connsiteY5" fmla="*/ 520121 h 526732"/>
                    <a:gd name="connsiteX6" fmla="*/ 21094 w 358139"/>
                    <a:gd name="connsiteY6" fmla="*/ 513454 h 526732"/>
                    <a:gd name="connsiteX7" fmla="*/ 139 w 358139"/>
                    <a:gd name="connsiteY7" fmla="*/ 494404 h 526732"/>
                    <a:gd name="connsiteX8" fmla="*/ 139 w 358139"/>
                    <a:gd name="connsiteY8" fmla="*/ 462019 h 526732"/>
                    <a:gd name="connsiteX9" fmla="*/ 4902 w 358139"/>
                    <a:gd name="connsiteY9" fmla="*/ 451541 h 526732"/>
                    <a:gd name="connsiteX10" fmla="*/ 17284 w 358139"/>
                    <a:gd name="connsiteY10" fmla="*/ 447731 h 526732"/>
                    <a:gd name="connsiteX11" fmla="*/ 21094 w 358139"/>
                    <a:gd name="connsiteY11" fmla="*/ 447731 h 526732"/>
                    <a:gd name="connsiteX12" fmla="*/ 60147 w 358139"/>
                    <a:gd name="connsiteY12" fmla="*/ 451541 h 526732"/>
                    <a:gd name="connsiteX13" fmla="*/ 103009 w 358139"/>
                    <a:gd name="connsiteY13" fmla="*/ 454398 h 526732"/>
                    <a:gd name="connsiteX14" fmla="*/ 143966 w 358139"/>
                    <a:gd name="connsiteY14" fmla="*/ 456304 h 526732"/>
                    <a:gd name="connsiteX15" fmla="*/ 175399 w 358139"/>
                    <a:gd name="connsiteY15" fmla="*/ 457256 h 526732"/>
                    <a:gd name="connsiteX16" fmla="*/ 247789 w 358139"/>
                    <a:gd name="connsiteY16" fmla="*/ 442969 h 526732"/>
                    <a:gd name="connsiteX17" fmla="*/ 272554 w 358139"/>
                    <a:gd name="connsiteY17" fmla="*/ 390581 h 526732"/>
                    <a:gd name="connsiteX18" fmla="*/ 257314 w 358139"/>
                    <a:gd name="connsiteY18" fmla="*/ 353434 h 526732"/>
                    <a:gd name="connsiteX19" fmla="*/ 199211 w 358139"/>
                    <a:gd name="connsiteY19" fmla="*/ 313429 h 526732"/>
                    <a:gd name="connsiteX20" fmla="*/ 100152 w 358139"/>
                    <a:gd name="connsiteY20" fmla="*/ 257231 h 526732"/>
                    <a:gd name="connsiteX21" fmla="*/ 27761 w 358139"/>
                    <a:gd name="connsiteY21" fmla="*/ 200081 h 526732"/>
                    <a:gd name="connsiteX22" fmla="*/ 139 w 358139"/>
                    <a:gd name="connsiteY22" fmla="*/ 123881 h 526732"/>
                    <a:gd name="connsiteX23" fmla="*/ 13474 w 358139"/>
                    <a:gd name="connsiteY23" fmla="*/ 63874 h 526732"/>
                    <a:gd name="connsiteX24" fmla="*/ 50622 w 358139"/>
                    <a:gd name="connsiteY24" fmla="*/ 25774 h 526732"/>
                    <a:gd name="connsiteX25" fmla="*/ 106819 w 358139"/>
                    <a:gd name="connsiteY25" fmla="*/ 5771 h 526732"/>
                    <a:gd name="connsiteX26" fmla="*/ 177304 w 358139"/>
                    <a:gd name="connsiteY26" fmla="*/ 56 h 526732"/>
                    <a:gd name="connsiteX27" fmla="*/ 257314 w 358139"/>
                    <a:gd name="connsiteY27" fmla="*/ 2913 h 526732"/>
                    <a:gd name="connsiteX28" fmla="*/ 330656 w 358139"/>
                    <a:gd name="connsiteY28" fmla="*/ 11486 h 526732"/>
                    <a:gd name="connsiteX29" fmla="*/ 349706 w 358139"/>
                    <a:gd name="connsiteY29" fmla="*/ 30536 h 526732"/>
                    <a:gd name="connsiteX30" fmla="*/ 349706 w 358139"/>
                    <a:gd name="connsiteY30" fmla="*/ 61016 h 526732"/>
                    <a:gd name="connsiteX31" fmla="*/ 333514 w 358139"/>
                    <a:gd name="connsiteY31" fmla="*/ 77209 h 526732"/>
                    <a:gd name="connsiteX32" fmla="*/ 330656 w 358139"/>
                    <a:gd name="connsiteY32" fmla="*/ 77209 h 526732"/>
                    <a:gd name="connsiteX33" fmla="*/ 263029 w 358139"/>
                    <a:gd name="connsiteY33" fmla="*/ 72446 h 526732"/>
                    <a:gd name="connsiteX34" fmla="*/ 179209 w 358139"/>
                    <a:gd name="connsiteY34" fmla="*/ 69588 h 526732"/>
                    <a:gd name="connsiteX35" fmla="*/ 113486 w 358139"/>
                    <a:gd name="connsiteY35" fmla="*/ 79113 h 526732"/>
                    <a:gd name="connsiteX36" fmla="*/ 88722 w 358139"/>
                    <a:gd name="connsiteY36" fmla="*/ 123881 h 526732"/>
                    <a:gd name="connsiteX37" fmla="*/ 104914 w 358139"/>
                    <a:gd name="connsiteY37" fmla="*/ 161029 h 526732"/>
                    <a:gd name="connsiteX38" fmla="*/ 155397 w 358139"/>
                    <a:gd name="connsiteY38" fmla="*/ 195319 h 526732"/>
                    <a:gd name="connsiteX39" fmla="*/ 252552 w 358139"/>
                    <a:gd name="connsiteY39" fmla="*/ 250564 h 526732"/>
                    <a:gd name="connsiteX40" fmla="*/ 336372 w 358139"/>
                    <a:gd name="connsiteY40" fmla="*/ 317239 h 526732"/>
                    <a:gd name="connsiteX41" fmla="*/ 358279 w 358139"/>
                    <a:gd name="connsiteY41" fmla="*/ 391534 h 5267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</a:cxnLst>
                  <a:rect l="l" t="t" r="r" b="b"/>
                  <a:pathLst>
                    <a:path w="358139" h="526732">
                      <a:moveTo>
                        <a:pt x="358279" y="391534"/>
                      </a:moveTo>
                      <a:cubicBezTo>
                        <a:pt x="358279" y="439159"/>
                        <a:pt x="341134" y="473448"/>
                        <a:pt x="307797" y="494404"/>
                      </a:cubicBezTo>
                      <a:cubicBezTo>
                        <a:pt x="274459" y="515359"/>
                        <a:pt x="229691" y="526789"/>
                        <a:pt x="175399" y="526789"/>
                      </a:cubicBezTo>
                      <a:cubicBezTo>
                        <a:pt x="165874" y="526789"/>
                        <a:pt x="155397" y="526789"/>
                        <a:pt x="143014" y="526789"/>
                      </a:cubicBezTo>
                      <a:cubicBezTo>
                        <a:pt x="130631" y="526789"/>
                        <a:pt x="117297" y="525836"/>
                        <a:pt x="103009" y="524884"/>
                      </a:cubicBezTo>
                      <a:cubicBezTo>
                        <a:pt x="88722" y="523931"/>
                        <a:pt x="74434" y="522026"/>
                        <a:pt x="60147" y="520121"/>
                      </a:cubicBezTo>
                      <a:cubicBezTo>
                        <a:pt x="45859" y="518216"/>
                        <a:pt x="32524" y="516311"/>
                        <a:pt x="21094" y="513454"/>
                      </a:cubicBezTo>
                      <a:cubicBezTo>
                        <a:pt x="7759" y="510596"/>
                        <a:pt x="139" y="503929"/>
                        <a:pt x="139" y="494404"/>
                      </a:cubicBezTo>
                      <a:lnTo>
                        <a:pt x="139" y="462019"/>
                      </a:lnTo>
                      <a:cubicBezTo>
                        <a:pt x="139" y="457256"/>
                        <a:pt x="2044" y="454398"/>
                        <a:pt x="4902" y="451541"/>
                      </a:cubicBezTo>
                      <a:cubicBezTo>
                        <a:pt x="7759" y="448684"/>
                        <a:pt x="12522" y="447731"/>
                        <a:pt x="17284" y="447731"/>
                      </a:cubicBezTo>
                      <a:lnTo>
                        <a:pt x="21094" y="447731"/>
                      </a:lnTo>
                      <a:cubicBezTo>
                        <a:pt x="32524" y="448684"/>
                        <a:pt x="45859" y="450589"/>
                        <a:pt x="60147" y="451541"/>
                      </a:cubicBezTo>
                      <a:cubicBezTo>
                        <a:pt x="74434" y="452494"/>
                        <a:pt x="88722" y="453446"/>
                        <a:pt x="103009" y="454398"/>
                      </a:cubicBezTo>
                      <a:cubicBezTo>
                        <a:pt x="117297" y="455351"/>
                        <a:pt x="130631" y="456304"/>
                        <a:pt x="143966" y="456304"/>
                      </a:cubicBezTo>
                      <a:cubicBezTo>
                        <a:pt x="156349" y="457256"/>
                        <a:pt x="166827" y="457256"/>
                        <a:pt x="175399" y="457256"/>
                      </a:cubicBezTo>
                      <a:cubicBezTo>
                        <a:pt x="207784" y="457256"/>
                        <a:pt x="231597" y="452494"/>
                        <a:pt x="247789" y="442969"/>
                      </a:cubicBezTo>
                      <a:cubicBezTo>
                        <a:pt x="263981" y="433444"/>
                        <a:pt x="272554" y="416299"/>
                        <a:pt x="272554" y="390581"/>
                      </a:cubicBezTo>
                      <a:cubicBezTo>
                        <a:pt x="272554" y="376294"/>
                        <a:pt x="266839" y="363911"/>
                        <a:pt x="257314" y="353434"/>
                      </a:cubicBezTo>
                      <a:cubicBezTo>
                        <a:pt x="246836" y="342956"/>
                        <a:pt x="227786" y="329621"/>
                        <a:pt x="199211" y="313429"/>
                      </a:cubicBezTo>
                      <a:lnTo>
                        <a:pt x="100152" y="257231"/>
                      </a:lnTo>
                      <a:cubicBezTo>
                        <a:pt x="69672" y="240086"/>
                        <a:pt x="45859" y="221036"/>
                        <a:pt x="27761" y="200081"/>
                      </a:cubicBezTo>
                      <a:cubicBezTo>
                        <a:pt x="9664" y="179126"/>
                        <a:pt x="139" y="154361"/>
                        <a:pt x="139" y="123881"/>
                      </a:cubicBezTo>
                      <a:cubicBezTo>
                        <a:pt x="139" y="100069"/>
                        <a:pt x="4902" y="80066"/>
                        <a:pt x="13474" y="63874"/>
                      </a:cubicBezTo>
                      <a:cubicBezTo>
                        <a:pt x="22999" y="47681"/>
                        <a:pt x="35381" y="35299"/>
                        <a:pt x="50622" y="25774"/>
                      </a:cubicBezTo>
                      <a:cubicBezTo>
                        <a:pt x="65861" y="16249"/>
                        <a:pt x="84911" y="9581"/>
                        <a:pt x="106819" y="5771"/>
                      </a:cubicBezTo>
                      <a:cubicBezTo>
                        <a:pt x="128727" y="1961"/>
                        <a:pt x="151586" y="56"/>
                        <a:pt x="177304" y="56"/>
                      </a:cubicBezTo>
                      <a:cubicBezTo>
                        <a:pt x="204927" y="56"/>
                        <a:pt x="231597" y="1009"/>
                        <a:pt x="257314" y="2913"/>
                      </a:cubicBezTo>
                      <a:cubicBezTo>
                        <a:pt x="283031" y="4819"/>
                        <a:pt x="307797" y="7676"/>
                        <a:pt x="330656" y="11486"/>
                      </a:cubicBezTo>
                      <a:cubicBezTo>
                        <a:pt x="343039" y="13391"/>
                        <a:pt x="349706" y="19106"/>
                        <a:pt x="349706" y="30536"/>
                      </a:cubicBezTo>
                      <a:lnTo>
                        <a:pt x="349706" y="61016"/>
                      </a:lnTo>
                      <a:cubicBezTo>
                        <a:pt x="349706" y="71494"/>
                        <a:pt x="343991" y="77209"/>
                        <a:pt x="333514" y="77209"/>
                      </a:cubicBezTo>
                      <a:lnTo>
                        <a:pt x="330656" y="77209"/>
                      </a:lnTo>
                      <a:cubicBezTo>
                        <a:pt x="313511" y="76256"/>
                        <a:pt x="290652" y="74351"/>
                        <a:pt x="263029" y="72446"/>
                      </a:cubicBezTo>
                      <a:cubicBezTo>
                        <a:pt x="234454" y="70541"/>
                        <a:pt x="206831" y="69588"/>
                        <a:pt x="179209" y="69588"/>
                      </a:cubicBezTo>
                      <a:cubicBezTo>
                        <a:pt x="151586" y="69588"/>
                        <a:pt x="129679" y="72446"/>
                        <a:pt x="113486" y="79113"/>
                      </a:cubicBezTo>
                      <a:cubicBezTo>
                        <a:pt x="97294" y="85781"/>
                        <a:pt x="88722" y="100069"/>
                        <a:pt x="88722" y="123881"/>
                      </a:cubicBezTo>
                      <a:cubicBezTo>
                        <a:pt x="88722" y="138169"/>
                        <a:pt x="94436" y="150551"/>
                        <a:pt x="104914" y="161029"/>
                      </a:cubicBezTo>
                      <a:cubicBezTo>
                        <a:pt x="116344" y="171506"/>
                        <a:pt x="132536" y="182936"/>
                        <a:pt x="155397" y="195319"/>
                      </a:cubicBezTo>
                      <a:lnTo>
                        <a:pt x="252552" y="250564"/>
                      </a:lnTo>
                      <a:cubicBezTo>
                        <a:pt x="292556" y="273424"/>
                        <a:pt x="321131" y="296284"/>
                        <a:pt x="336372" y="317239"/>
                      </a:cubicBezTo>
                      <a:cubicBezTo>
                        <a:pt x="350659" y="340099"/>
                        <a:pt x="358279" y="363911"/>
                        <a:pt x="358279" y="391534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  <p:sp>
            <p:nvSpPr>
              <p:cNvPr id="32" name="Freeform: Shape 31">
                <a:extLst>
                  <a:ext uri="{FF2B5EF4-FFF2-40B4-BE49-F238E27FC236}">
                    <a16:creationId xmlns:a16="http://schemas.microsoft.com/office/drawing/2014/main" id="{52677D87-E358-4CDC-B9DD-FF5F56DCFAB7}"/>
                  </a:ext>
                </a:extLst>
              </p:cNvPr>
              <p:cNvSpPr/>
              <p:nvPr/>
            </p:nvSpPr>
            <p:spPr>
              <a:xfrm>
                <a:off x="5251132" y="3874769"/>
                <a:ext cx="398145" cy="74294"/>
              </a:xfrm>
              <a:custGeom>
                <a:avLst/>
                <a:gdLst>
                  <a:gd name="connsiteX0" fmla="*/ 0 w 398145"/>
                  <a:gd name="connsiteY0" fmla="*/ 56 h 74294"/>
                  <a:gd name="connsiteX1" fmla="*/ 398145 w 398145"/>
                  <a:gd name="connsiteY1" fmla="*/ 56 h 74294"/>
                  <a:gd name="connsiteX2" fmla="*/ 398145 w 398145"/>
                  <a:gd name="connsiteY2" fmla="*/ 74351 h 74294"/>
                  <a:gd name="connsiteX3" fmla="*/ 0 w 398145"/>
                  <a:gd name="connsiteY3" fmla="*/ 74351 h 742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98145" h="74294">
                    <a:moveTo>
                      <a:pt x="0" y="56"/>
                    </a:moveTo>
                    <a:lnTo>
                      <a:pt x="398145" y="56"/>
                    </a:lnTo>
                    <a:lnTo>
                      <a:pt x="398145" y="74351"/>
                    </a:lnTo>
                    <a:lnTo>
                      <a:pt x="0" y="74351"/>
                    </a:ln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3" name="Freeform: Shape 32">
                <a:extLst>
                  <a:ext uri="{FF2B5EF4-FFF2-40B4-BE49-F238E27FC236}">
                    <a16:creationId xmlns:a16="http://schemas.microsoft.com/office/drawing/2014/main" id="{E3FCEA8E-EE99-4494-9DD0-0CA94B0BE3A3}"/>
                  </a:ext>
                </a:extLst>
              </p:cNvPr>
              <p:cNvSpPr/>
              <p:nvPr/>
            </p:nvSpPr>
            <p:spPr>
              <a:xfrm>
                <a:off x="5269093" y="3247072"/>
                <a:ext cx="410663" cy="701992"/>
              </a:xfrm>
              <a:custGeom>
                <a:avLst/>
                <a:gdLst>
                  <a:gd name="connsiteX0" fmla="*/ 51571 w 410663"/>
                  <a:gd name="connsiteY0" fmla="*/ 40061 h 701992"/>
                  <a:gd name="connsiteX1" fmla="*/ 217306 w 410663"/>
                  <a:gd name="connsiteY1" fmla="*/ 56 h 701992"/>
                  <a:gd name="connsiteX2" fmla="*/ 303031 w 410663"/>
                  <a:gd name="connsiteY2" fmla="*/ 4818 h 701992"/>
                  <a:gd name="connsiteX3" fmla="*/ 382089 w 410663"/>
                  <a:gd name="connsiteY3" fmla="*/ 19106 h 701992"/>
                  <a:gd name="connsiteX4" fmla="*/ 394471 w 410663"/>
                  <a:gd name="connsiteY4" fmla="*/ 24821 h 701992"/>
                  <a:gd name="connsiteX5" fmla="*/ 399234 w 410663"/>
                  <a:gd name="connsiteY5" fmla="*/ 36251 h 701992"/>
                  <a:gd name="connsiteX6" fmla="*/ 399234 w 410663"/>
                  <a:gd name="connsiteY6" fmla="*/ 69589 h 701992"/>
                  <a:gd name="connsiteX7" fmla="*/ 384946 w 410663"/>
                  <a:gd name="connsiteY7" fmla="*/ 86734 h 701992"/>
                  <a:gd name="connsiteX8" fmla="*/ 381136 w 410663"/>
                  <a:gd name="connsiteY8" fmla="*/ 86734 h 701992"/>
                  <a:gd name="connsiteX9" fmla="*/ 298269 w 410663"/>
                  <a:gd name="connsiteY9" fmla="*/ 77209 h 701992"/>
                  <a:gd name="connsiteX10" fmla="*/ 218259 w 410663"/>
                  <a:gd name="connsiteY10" fmla="*/ 73399 h 701992"/>
                  <a:gd name="connsiteX11" fmla="*/ 111579 w 410663"/>
                  <a:gd name="connsiteY11" fmla="*/ 96259 h 701992"/>
                  <a:gd name="connsiteX12" fmla="*/ 80146 w 410663"/>
                  <a:gd name="connsiteY12" fmla="*/ 169601 h 701992"/>
                  <a:gd name="connsiteX13" fmla="*/ 83956 w 410663"/>
                  <a:gd name="connsiteY13" fmla="*/ 205796 h 701992"/>
                  <a:gd name="connsiteX14" fmla="*/ 99196 w 410663"/>
                  <a:gd name="connsiteY14" fmla="*/ 236276 h 701992"/>
                  <a:gd name="connsiteX15" fmla="*/ 128724 w 410663"/>
                  <a:gd name="connsiteY15" fmla="*/ 265804 h 701992"/>
                  <a:gd name="connsiteX16" fmla="*/ 176349 w 410663"/>
                  <a:gd name="connsiteY16" fmla="*/ 300094 h 701992"/>
                  <a:gd name="connsiteX17" fmla="*/ 269694 w 410663"/>
                  <a:gd name="connsiteY17" fmla="*/ 363911 h 701992"/>
                  <a:gd name="connsiteX18" fmla="*/ 378279 w 410663"/>
                  <a:gd name="connsiteY18" fmla="*/ 476306 h 701992"/>
                  <a:gd name="connsiteX19" fmla="*/ 410664 w 410663"/>
                  <a:gd name="connsiteY19" fmla="*/ 609656 h 701992"/>
                  <a:gd name="connsiteX20" fmla="*/ 410664 w 410663"/>
                  <a:gd name="connsiteY20" fmla="*/ 684904 h 701992"/>
                  <a:gd name="connsiteX21" fmla="*/ 404949 w 410663"/>
                  <a:gd name="connsiteY21" fmla="*/ 697286 h 701992"/>
                  <a:gd name="connsiteX22" fmla="*/ 392566 w 410663"/>
                  <a:gd name="connsiteY22" fmla="*/ 702049 h 701992"/>
                  <a:gd name="connsiteX23" fmla="*/ 26806 w 410663"/>
                  <a:gd name="connsiteY23" fmla="*/ 702049 h 701992"/>
                  <a:gd name="connsiteX24" fmla="*/ 13471 w 410663"/>
                  <a:gd name="connsiteY24" fmla="*/ 697286 h 701992"/>
                  <a:gd name="connsiteX25" fmla="*/ 7756 w 410663"/>
                  <a:gd name="connsiteY25" fmla="*/ 684904 h 701992"/>
                  <a:gd name="connsiteX26" fmla="*/ 7756 w 410663"/>
                  <a:gd name="connsiteY26" fmla="*/ 643946 h 701992"/>
                  <a:gd name="connsiteX27" fmla="*/ 13471 w 410663"/>
                  <a:gd name="connsiteY27" fmla="*/ 632516 h 701992"/>
                  <a:gd name="connsiteX28" fmla="*/ 26806 w 410663"/>
                  <a:gd name="connsiteY28" fmla="*/ 628706 h 701992"/>
                  <a:gd name="connsiteX29" fmla="*/ 337321 w 410663"/>
                  <a:gd name="connsiteY29" fmla="*/ 628706 h 701992"/>
                  <a:gd name="connsiteX30" fmla="*/ 337321 w 410663"/>
                  <a:gd name="connsiteY30" fmla="*/ 608704 h 701992"/>
                  <a:gd name="connsiteX31" fmla="*/ 331606 w 410663"/>
                  <a:gd name="connsiteY31" fmla="*/ 553459 h 701992"/>
                  <a:gd name="connsiteX32" fmla="*/ 311604 w 410663"/>
                  <a:gd name="connsiteY32" fmla="*/ 504881 h 701992"/>
                  <a:gd name="connsiteX33" fmla="*/ 272551 w 410663"/>
                  <a:gd name="connsiteY33" fmla="*/ 458209 h 701992"/>
                  <a:gd name="connsiteX34" fmla="*/ 208734 w 410663"/>
                  <a:gd name="connsiteY34" fmla="*/ 408679 h 701992"/>
                  <a:gd name="connsiteX35" fmla="*/ 120151 w 410663"/>
                  <a:gd name="connsiteY35" fmla="*/ 347719 h 701992"/>
                  <a:gd name="connsiteX36" fmla="*/ 27759 w 410663"/>
                  <a:gd name="connsiteY36" fmla="*/ 262946 h 701992"/>
                  <a:gd name="connsiteX37" fmla="*/ 136 w 410663"/>
                  <a:gd name="connsiteY37" fmla="*/ 166744 h 701992"/>
                  <a:gd name="connsiteX38" fmla="*/ 51571 w 410663"/>
                  <a:gd name="connsiteY38" fmla="*/ 40061 h 7019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</a:cxnLst>
                <a:rect l="l" t="t" r="r" b="b"/>
                <a:pathLst>
                  <a:path w="410663" h="701992">
                    <a:moveTo>
                      <a:pt x="51571" y="40061"/>
                    </a:moveTo>
                    <a:cubicBezTo>
                      <a:pt x="86814" y="13391"/>
                      <a:pt x="143011" y="56"/>
                      <a:pt x="217306" y="56"/>
                    </a:cubicBezTo>
                    <a:cubicBezTo>
                      <a:pt x="244929" y="56"/>
                      <a:pt x="273504" y="1961"/>
                      <a:pt x="303031" y="4818"/>
                    </a:cubicBezTo>
                    <a:cubicBezTo>
                      <a:pt x="332559" y="7676"/>
                      <a:pt x="358276" y="12439"/>
                      <a:pt x="382089" y="19106"/>
                    </a:cubicBezTo>
                    <a:cubicBezTo>
                      <a:pt x="386851" y="20059"/>
                      <a:pt x="391614" y="21964"/>
                      <a:pt x="394471" y="24821"/>
                    </a:cubicBezTo>
                    <a:cubicBezTo>
                      <a:pt x="398281" y="27679"/>
                      <a:pt x="399234" y="31489"/>
                      <a:pt x="399234" y="36251"/>
                    </a:cubicBezTo>
                    <a:lnTo>
                      <a:pt x="399234" y="69589"/>
                    </a:lnTo>
                    <a:cubicBezTo>
                      <a:pt x="399234" y="81019"/>
                      <a:pt x="394471" y="86734"/>
                      <a:pt x="384946" y="86734"/>
                    </a:cubicBezTo>
                    <a:lnTo>
                      <a:pt x="381136" y="86734"/>
                    </a:lnTo>
                    <a:cubicBezTo>
                      <a:pt x="355419" y="82924"/>
                      <a:pt x="327796" y="80066"/>
                      <a:pt x="298269" y="77209"/>
                    </a:cubicBezTo>
                    <a:cubicBezTo>
                      <a:pt x="268741" y="74351"/>
                      <a:pt x="242071" y="73399"/>
                      <a:pt x="218259" y="73399"/>
                    </a:cubicBezTo>
                    <a:cubicBezTo>
                      <a:pt x="168729" y="73399"/>
                      <a:pt x="132534" y="81019"/>
                      <a:pt x="111579" y="96259"/>
                    </a:cubicBezTo>
                    <a:cubicBezTo>
                      <a:pt x="90624" y="111499"/>
                      <a:pt x="80146" y="136264"/>
                      <a:pt x="80146" y="169601"/>
                    </a:cubicBezTo>
                    <a:cubicBezTo>
                      <a:pt x="80146" y="182936"/>
                      <a:pt x="81099" y="195319"/>
                      <a:pt x="83956" y="205796"/>
                    </a:cubicBezTo>
                    <a:cubicBezTo>
                      <a:pt x="86814" y="216274"/>
                      <a:pt x="91576" y="226751"/>
                      <a:pt x="99196" y="236276"/>
                    </a:cubicBezTo>
                    <a:cubicBezTo>
                      <a:pt x="105864" y="245801"/>
                      <a:pt x="116341" y="255326"/>
                      <a:pt x="128724" y="265804"/>
                    </a:cubicBezTo>
                    <a:cubicBezTo>
                      <a:pt x="141106" y="275329"/>
                      <a:pt x="156346" y="287711"/>
                      <a:pt x="176349" y="300094"/>
                    </a:cubicBezTo>
                    <a:lnTo>
                      <a:pt x="269694" y="363911"/>
                    </a:lnTo>
                    <a:cubicBezTo>
                      <a:pt x="320176" y="398201"/>
                      <a:pt x="356371" y="435349"/>
                      <a:pt x="378279" y="476306"/>
                    </a:cubicBezTo>
                    <a:cubicBezTo>
                      <a:pt x="400186" y="516311"/>
                      <a:pt x="410664" y="561079"/>
                      <a:pt x="410664" y="609656"/>
                    </a:cubicBezTo>
                    <a:lnTo>
                      <a:pt x="410664" y="684904"/>
                    </a:lnTo>
                    <a:cubicBezTo>
                      <a:pt x="410664" y="689666"/>
                      <a:pt x="408759" y="694429"/>
                      <a:pt x="404949" y="697286"/>
                    </a:cubicBezTo>
                    <a:cubicBezTo>
                      <a:pt x="401139" y="701096"/>
                      <a:pt x="397329" y="702049"/>
                      <a:pt x="392566" y="702049"/>
                    </a:cubicBezTo>
                    <a:lnTo>
                      <a:pt x="26806" y="702049"/>
                    </a:lnTo>
                    <a:cubicBezTo>
                      <a:pt x="22044" y="702049"/>
                      <a:pt x="17281" y="700144"/>
                      <a:pt x="13471" y="697286"/>
                    </a:cubicBezTo>
                    <a:cubicBezTo>
                      <a:pt x="9661" y="694429"/>
                      <a:pt x="7756" y="689666"/>
                      <a:pt x="7756" y="684904"/>
                    </a:cubicBezTo>
                    <a:lnTo>
                      <a:pt x="7756" y="643946"/>
                    </a:lnTo>
                    <a:cubicBezTo>
                      <a:pt x="7756" y="639184"/>
                      <a:pt x="9661" y="635374"/>
                      <a:pt x="13471" y="632516"/>
                    </a:cubicBezTo>
                    <a:cubicBezTo>
                      <a:pt x="17281" y="629659"/>
                      <a:pt x="21091" y="628706"/>
                      <a:pt x="26806" y="628706"/>
                    </a:cubicBezTo>
                    <a:lnTo>
                      <a:pt x="337321" y="628706"/>
                    </a:lnTo>
                    <a:lnTo>
                      <a:pt x="337321" y="608704"/>
                    </a:lnTo>
                    <a:cubicBezTo>
                      <a:pt x="337321" y="587749"/>
                      <a:pt x="335416" y="569651"/>
                      <a:pt x="331606" y="553459"/>
                    </a:cubicBezTo>
                    <a:cubicBezTo>
                      <a:pt x="327796" y="537266"/>
                      <a:pt x="321129" y="521074"/>
                      <a:pt x="311604" y="504881"/>
                    </a:cubicBezTo>
                    <a:cubicBezTo>
                      <a:pt x="302079" y="489641"/>
                      <a:pt x="288744" y="473449"/>
                      <a:pt x="272551" y="458209"/>
                    </a:cubicBezTo>
                    <a:cubicBezTo>
                      <a:pt x="256359" y="442969"/>
                      <a:pt x="234451" y="426776"/>
                      <a:pt x="208734" y="408679"/>
                    </a:cubicBezTo>
                    <a:lnTo>
                      <a:pt x="120151" y="347719"/>
                    </a:lnTo>
                    <a:cubicBezTo>
                      <a:pt x="77289" y="318191"/>
                      <a:pt x="45856" y="290569"/>
                      <a:pt x="27759" y="262946"/>
                    </a:cubicBezTo>
                    <a:cubicBezTo>
                      <a:pt x="9661" y="236276"/>
                      <a:pt x="136" y="203891"/>
                      <a:pt x="136" y="166744"/>
                    </a:cubicBezTo>
                    <a:cubicBezTo>
                      <a:pt x="-1769" y="109594"/>
                      <a:pt x="16329" y="66731"/>
                      <a:pt x="51571" y="40061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46" name="Rectangle: Rounded Corners 45">
              <a:extLst>
                <a:ext uri="{FF2B5EF4-FFF2-40B4-BE49-F238E27FC236}">
                  <a16:creationId xmlns:a16="http://schemas.microsoft.com/office/drawing/2014/main" id="{1A1F6B87-4250-481E-8340-70F4030560FF}"/>
                </a:ext>
              </a:extLst>
            </p:cNvPr>
            <p:cNvSpPr/>
            <p:nvPr/>
          </p:nvSpPr>
          <p:spPr>
            <a:xfrm>
              <a:off x="765963" y="4686300"/>
              <a:ext cx="3334550" cy="464148"/>
            </a:xfrm>
            <a:prstGeom prst="roundRect">
              <a:avLst>
                <a:gd name="adj" fmla="val 50000"/>
              </a:avLst>
            </a:prstGeom>
            <a:solidFill>
              <a:srgbClr val="DE4D1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a-DK" i="1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Lorem ipsum dolor sit amet</a:t>
              </a:r>
              <a:endParaRPr lang="en-US" i="1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0149026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8EBFCDF-1EAB-4F3B-AEFA-166C1F2CDD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02390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5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9" name="Picture 48" descr="Shape, sunburst chart&#10;&#10;Description automatically generated">
            <a:extLst>
              <a:ext uri="{FF2B5EF4-FFF2-40B4-BE49-F238E27FC236}">
                <a16:creationId xmlns:a16="http://schemas.microsoft.com/office/drawing/2014/main" id="{EE91933D-687D-4485-A7BD-6C1FC96171C8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5127" b="26826"/>
          <a:stretch/>
        </p:blipFill>
        <p:spPr>
          <a:xfrm>
            <a:off x="9181170" y="1179286"/>
            <a:ext cx="3010829" cy="5018300"/>
          </a:xfrm>
          <a:prstGeom prst="rect">
            <a:avLst/>
          </a:prstGeom>
        </p:spPr>
      </p:pic>
      <p:sp>
        <p:nvSpPr>
          <p:cNvPr id="34" name="Rectangle: Rounded Corners 33">
            <a:extLst>
              <a:ext uri="{FF2B5EF4-FFF2-40B4-BE49-F238E27FC236}">
                <a16:creationId xmlns:a16="http://schemas.microsoft.com/office/drawing/2014/main" id="{410D0ABB-1E6E-482C-9E07-6AC1CD45E043}"/>
              </a:ext>
            </a:extLst>
          </p:cNvPr>
          <p:cNvSpPr/>
          <p:nvPr/>
        </p:nvSpPr>
        <p:spPr>
          <a:xfrm>
            <a:off x="7677627" y="1179286"/>
            <a:ext cx="1211607" cy="268514"/>
          </a:xfrm>
          <a:prstGeom prst="roundRect">
            <a:avLst>
              <a:gd name="adj" fmla="val 50000"/>
            </a:avLst>
          </a:prstGeom>
          <a:solidFill>
            <a:srgbClr val="A6B726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tlCol="0" anchor="ctr"/>
          <a:lstStyle/>
          <a:p>
            <a:pPr algn="ctr"/>
            <a:r>
              <a:rPr lang="da-DK" sz="1400" b="1" i="1" dirty="0">
                <a:latin typeface="Segoe UI Light" panose="020B0502040204020203" pitchFamily="34" charset="0"/>
                <a:cs typeface="Segoe UI Light" panose="020B0502040204020203" pitchFamily="34" charset="0"/>
              </a:rPr>
              <a:t>Lorem</a:t>
            </a:r>
            <a:endParaRPr lang="en-US" sz="1400" b="1" i="1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33" name="Rectangle: Rounded Corners 32">
            <a:extLst>
              <a:ext uri="{FF2B5EF4-FFF2-40B4-BE49-F238E27FC236}">
                <a16:creationId xmlns:a16="http://schemas.microsoft.com/office/drawing/2014/main" id="{2AD6F9D4-1418-46EC-B242-9E64BBADA2BF}"/>
              </a:ext>
            </a:extLst>
          </p:cNvPr>
          <p:cNvSpPr/>
          <p:nvPr/>
        </p:nvSpPr>
        <p:spPr>
          <a:xfrm>
            <a:off x="6593858" y="1179286"/>
            <a:ext cx="1311892" cy="268514"/>
          </a:xfrm>
          <a:prstGeom prst="roundRect">
            <a:avLst>
              <a:gd name="adj" fmla="val 50000"/>
            </a:avLst>
          </a:prstGeom>
          <a:solidFill>
            <a:srgbClr val="A6B726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tlCol="0" anchor="ctr"/>
          <a:lstStyle/>
          <a:p>
            <a:pPr algn="ctr"/>
            <a:r>
              <a:rPr lang="da-DK" sz="1400" b="1" i="1" dirty="0">
                <a:latin typeface="Segoe UI Light" panose="020B0502040204020203" pitchFamily="34" charset="0"/>
                <a:cs typeface="Segoe UI Light" panose="020B0502040204020203" pitchFamily="34" charset="0"/>
              </a:rPr>
              <a:t>Lorem</a:t>
            </a:r>
            <a:endParaRPr lang="en-US" sz="1400" b="1" i="1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32" name="Rectangle: Rounded Corners 31">
            <a:extLst>
              <a:ext uri="{FF2B5EF4-FFF2-40B4-BE49-F238E27FC236}">
                <a16:creationId xmlns:a16="http://schemas.microsoft.com/office/drawing/2014/main" id="{A4786DBC-8456-456B-BD72-F21779D17B7D}"/>
              </a:ext>
            </a:extLst>
          </p:cNvPr>
          <p:cNvSpPr/>
          <p:nvPr/>
        </p:nvSpPr>
        <p:spPr>
          <a:xfrm>
            <a:off x="5510090" y="1179286"/>
            <a:ext cx="1311892" cy="268514"/>
          </a:xfrm>
          <a:prstGeom prst="roundRect">
            <a:avLst>
              <a:gd name="adj" fmla="val 50000"/>
            </a:avLst>
          </a:prstGeom>
          <a:solidFill>
            <a:srgbClr val="A6B726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tlCol="0" anchor="ctr"/>
          <a:lstStyle/>
          <a:p>
            <a:pPr algn="ctr"/>
            <a:r>
              <a:rPr lang="da-DK" sz="1400" b="1" i="1" dirty="0">
                <a:latin typeface="Segoe UI Light" panose="020B0502040204020203" pitchFamily="34" charset="0"/>
                <a:cs typeface="Segoe UI Light" panose="020B0502040204020203" pitchFamily="34" charset="0"/>
              </a:rPr>
              <a:t>Lorem</a:t>
            </a:r>
            <a:endParaRPr lang="en-US" sz="1400" b="1" i="1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31" name="Rectangle: Rounded Corners 30">
            <a:extLst>
              <a:ext uri="{FF2B5EF4-FFF2-40B4-BE49-F238E27FC236}">
                <a16:creationId xmlns:a16="http://schemas.microsoft.com/office/drawing/2014/main" id="{E092FBB3-F4CD-4626-816C-666D5C098B53}"/>
              </a:ext>
            </a:extLst>
          </p:cNvPr>
          <p:cNvSpPr/>
          <p:nvPr/>
        </p:nvSpPr>
        <p:spPr>
          <a:xfrm>
            <a:off x="4426322" y="1179286"/>
            <a:ext cx="1311892" cy="268514"/>
          </a:xfrm>
          <a:prstGeom prst="roundRect">
            <a:avLst>
              <a:gd name="adj" fmla="val 50000"/>
            </a:avLst>
          </a:prstGeom>
          <a:solidFill>
            <a:srgbClr val="A6B726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tlCol="0" anchor="ctr"/>
          <a:lstStyle/>
          <a:p>
            <a:pPr algn="ctr"/>
            <a:r>
              <a:rPr lang="da-DK" sz="1400" b="1" i="1" dirty="0">
                <a:latin typeface="Segoe UI Light" panose="020B0502040204020203" pitchFamily="34" charset="0"/>
                <a:cs typeface="Segoe UI Light" panose="020B0502040204020203" pitchFamily="34" charset="0"/>
              </a:rPr>
              <a:t>Lorem</a:t>
            </a:r>
            <a:endParaRPr lang="en-US" sz="1400" b="1" i="1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30" name="Rectangle: Rounded Corners 29">
            <a:extLst>
              <a:ext uri="{FF2B5EF4-FFF2-40B4-BE49-F238E27FC236}">
                <a16:creationId xmlns:a16="http://schemas.microsoft.com/office/drawing/2014/main" id="{544847F0-049E-4904-A290-08ED3D4A8084}"/>
              </a:ext>
            </a:extLst>
          </p:cNvPr>
          <p:cNvSpPr/>
          <p:nvPr/>
        </p:nvSpPr>
        <p:spPr>
          <a:xfrm>
            <a:off x="3342554" y="1179286"/>
            <a:ext cx="1311892" cy="268514"/>
          </a:xfrm>
          <a:prstGeom prst="roundRect">
            <a:avLst>
              <a:gd name="adj" fmla="val 50000"/>
            </a:avLst>
          </a:prstGeom>
          <a:solidFill>
            <a:srgbClr val="A6B726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tlCol="0" anchor="ctr"/>
          <a:lstStyle/>
          <a:p>
            <a:pPr algn="ctr"/>
            <a:r>
              <a:rPr lang="da-DK" sz="1400" b="1" i="1" dirty="0">
                <a:latin typeface="Segoe UI Light" panose="020B0502040204020203" pitchFamily="34" charset="0"/>
                <a:cs typeface="Segoe UI Light" panose="020B0502040204020203" pitchFamily="34" charset="0"/>
              </a:rPr>
              <a:t>Lorem</a:t>
            </a:r>
            <a:endParaRPr lang="en-US" sz="1400" b="1" i="1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29" name="Rectangle: Rounded Corners 28">
            <a:extLst>
              <a:ext uri="{FF2B5EF4-FFF2-40B4-BE49-F238E27FC236}">
                <a16:creationId xmlns:a16="http://schemas.microsoft.com/office/drawing/2014/main" id="{3B679DDA-EF9A-4986-B3DD-059E5FCE629A}"/>
              </a:ext>
            </a:extLst>
          </p:cNvPr>
          <p:cNvSpPr/>
          <p:nvPr/>
        </p:nvSpPr>
        <p:spPr>
          <a:xfrm>
            <a:off x="2258786" y="1179286"/>
            <a:ext cx="1311892" cy="268514"/>
          </a:xfrm>
          <a:prstGeom prst="roundRect">
            <a:avLst>
              <a:gd name="adj" fmla="val 50000"/>
            </a:avLst>
          </a:prstGeom>
          <a:solidFill>
            <a:srgbClr val="A6B726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tlCol="0" anchor="ctr"/>
          <a:lstStyle/>
          <a:p>
            <a:pPr algn="ctr"/>
            <a:r>
              <a:rPr lang="da-DK" sz="1400" b="1" i="1" dirty="0">
                <a:latin typeface="Segoe UI Light" panose="020B0502040204020203" pitchFamily="34" charset="0"/>
                <a:cs typeface="Segoe UI Light" panose="020B0502040204020203" pitchFamily="34" charset="0"/>
              </a:rPr>
              <a:t>Lorem</a:t>
            </a:r>
            <a:endParaRPr lang="en-US" sz="1400" b="1" i="1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447DE79F-139A-4A5A-9825-C09C9D3AAE85}"/>
              </a:ext>
            </a:extLst>
          </p:cNvPr>
          <p:cNvSpPr/>
          <p:nvPr/>
        </p:nvSpPr>
        <p:spPr>
          <a:xfrm>
            <a:off x="1175018" y="1179286"/>
            <a:ext cx="1311892" cy="268514"/>
          </a:xfrm>
          <a:prstGeom prst="roundRect">
            <a:avLst>
              <a:gd name="adj" fmla="val 50000"/>
            </a:avLst>
          </a:prstGeom>
          <a:solidFill>
            <a:srgbClr val="A6B726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400" b="1" i="1" dirty="0">
                <a:latin typeface="Segoe UI Light" panose="020B0502040204020203" pitchFamily="34" charset="0"/>
                <a:cs typeface="Segoe UI Light" panose="020B0502040204020203" pitchFamily="34" charset="0"/>
              </a:rPr>
              <a:t>Lorem</a:t>
            </a:r>
            <a:endParaRPr lang="en-US" sz="1400" b="1" i="1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524866A-57DD-471A-B4C4-CAE04BB44C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en-US" sz="3600" dirty="0"/>
              <a:t>Multiple project timeline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1158F61-8747-4E84-ACD8-A50B0BCA1A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13A2AF-9881-47E7-AE38-D70ECBD2298B}" type="slidenum">
              <a:rPr lang="en-US" smtClean="0"/>
              <a:t>10</a:t>
            </a:fld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D868B8A7-3185-4B67-9A33-6B73E6746DB0}"/>
              </a:ext>
            </a:extLst>
          </p:cNvPr>
          <p:cNvSpPr/>
          <p:nvPr/>
        </p:nvSpPr>
        <p:spPr>
          <a:xfrm>
            <a:off x="9173030" y="1179286"/>
            <a:ext cx="3018970" cy="5018312"/>
          </a:xfrm>
          <a:prstGeom prst="rect">
            <a:avLst/>
          </a:prstGeom>
          <a:solidFill>
            <a:schemeClr val="tx1"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aphicFrame>
        <p:nvGraphicFramePr>
          <p:cNvPr id="15" name="Content Placeholder 14">
            <a:extLst>
              <a:ext uri="{FF2B5EF4-FFF2-40B4-BE49-F238E27FC236}">
                <a16:creationId xmlns:a16="http://schemas.microsoft.com/office/drawing/2014/main" id="{6C6FC1A8-A373-48C0-8037-5B2D82B9667A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384470822"/>
              </p:ext>
            </p:extLst>
          </p:nvPr>
        </p:nvGraphicFramePr>
        <p:xfrm>
          <a:off x="9448800" y="1552575"/>
          <a:ext cx="2179638" cy="18764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16" name="Content Placeholder 14">
            <a:extLst>
              <a:ext uri="{FF2B5EF4-FFF2-40B4-BE49-F238E27FC236}">
                <a16:creationId xmlns:a16="http://schemas.microsoft.com/office/drawing/2014/main" id="{1C2F5A81-2D13-45AB-8D9C-ED7184E6DCE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713671893"/>
              </p:ext>
            </p:extLst>
          </p:nvPr>
        </p:nvGraphicFramePr>
        <p:xfrm>
          <a:off x="9448800" y="3990974"/>
          <a:ext cx="2179638" cy="18764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D3AE2632-F125-403F-8288-E0C9BB695ABC}"/>
              </a:ext>
            </a:extLst>
          </p:cNvPr>
          <p:cNvSpPr/>
          <p:nvPr/>
        </p:nvSpPr>
        <p:spPr>
          <a:xfrm rot="16200000">
            <a:off x="-290609" y="2452599"/>
            <a:ext cx="2394225" cy="537029"/>
          </a:xfrm>
          <a:prstGeom prst="roundRect">
            <a:avLst>
              <a:gd name="adj" fmla="val 12162"/>
            </a:avLst>
          </a:prstGeom>
          <a:solidFill>
            <a:srgbClr val="6B2B9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400" b="1" i="1" dirty="0">
                <a:latin typeface="Segoe UI Light" panose="020B0502040204020203" pitchFamily="34" charset="0"/>
                <a:cs typeface="Segoe UI Light" panose="020B0502040204020203" pitchFamily="34" charset="0"/>
              </a:rPr>
              <a:t>Lorem</a:t>
            </a:r>
            <a:endParaRPr lang="en-US" sz="1400" b="1" i="1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B582DA84-B5A5-40CB-8F6A-640F4B4C5611}"/>
              </a:ext>
            </a:extLst>
          </p:cNvPr>
          <p:cNvSpPr/>
          <p:nvPr/>
        </p:nvSpPr>
        <p:spPr>
          <a:xfrm rot="16200000">
            <a:off x="-290609" y="4731959"/>
            <a:ext cx="2394225" cy="537029"/>
          </a:xfrm>
          <a:prstGeom prst="roundRect">
            <a:avLst>
              <a:gd name="adj" fmla="val 12162"/>
            </a:avLst>
          </a:prstGeom>
          <a:solidFill>
            <a:srgbClr val="6B2B9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400" b="1" i="1" dirty="0">
                <a:latin typeface="Segoe UI Light" panose="020B0502040204020203" pitchFamily="34" charset="0"/>
                <a:cs typeface="Segoe UI Light" panose="020B0502040204020203" pitchFamily="34" charset="0"/>
              </a:rPr>
              <a:t>Lorem</a:t>
            </a:r>
            <a:endParaRPr lang="en-US" sz="1400" b="1" i="1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BB676008-722B-4972-A8B0-5D8273C72E9B}"/>
              </a:ext>
            </a:extLst>
          </p:cNvPr>
          <p:cNvCxnSpPr>
            <a:cxnSpLocks/>
          </p:cNvCxnSpPr>
          <p:nvPr/>
        </p:nvCxnSpPr>
        <p:spPr>
          <a:xfrm>
            <a:off x="1285875" y="3797300"/>
            <a:ext cx="10182225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Arrow: Right 38">
            <a:extLst>
              <a:ext uri="{FF2B5EF4-FFF2-40B4-BE49-F238E27FC236}">
                <a16:creationId xmlns:a16="http://schemas.microsoft.com/office/drawing/2014/main" id="{814CB52B-FE69-4A00-86EC-C48A7A45DA5F}"/>
              </a:ext>
            </a:extLst>
          </p:cNvPr>
          <p:cNvSpPr/>
          <p:nvPr/>
        </p:nvSpPr>
        <p:spPr>
          <a:xfrm>
            <a:off x="1269165" y="1750394"/>
            <a:ext cx="2664734" cy="257835"/>
          </a:xfrm>
          <a:prstGeom prst="rightArrow">
            <a:avLst>
              <a:gd name="adj1" fmla="val 100000"/>
              <a:gd name="adj2" fmla="val 40898"/>
            </a:avLst>
          </a:prstGeom>
          <a:solidFill>
            <a:srgbClr val="FDD0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i="1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orem ipsum</a:t>
            </a:r>
          </a:p>
        </p:txBody>
      </p:sp>
      <p:sp>
        <p:nvSpPr>
          <p:cNvPr id="40" name="Arrow: Right 39">
            <a:extLst>
              <a:ext uri="{FF2B5EF4-FFF2-40B4-BE49-F238E27FC236}">
                <a16:creationId xmlns:a16="http://schemas.microsoft.com/office/drawing/2014/main" id="{DBF46261-CB1C-4A72-81D9-398D922FB459}"/>
              </a:ext>
            </a:extLst>
          </p:cNvPr>
          <p:cNvSpPr/>
          <p:nvPr/>
        </p:nvSpPr>
        <p:spPr>
          <a:xfrm>
            <a:off x="2279039" y="2235534"/>
            <a:ext cx="2664734" cy="257835"/>
          </a:xfrm>
          <a:prstGeom prst="rightArrow">
            <a:avLst>
              <a:gd name="adj1" fmla="val 100000"/>
              <a:gd name="adj2" fmla="val 40898"/>
            </a:avLst>
          </a:prstGeom>
          <a:solidFill>
            <a:srgbClr val="FDD0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i="1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orem ipsum</a:t>
            </a:r>
          </a:p>
        </p:txBody>
      </p:sp>
      <p:sp>
        <p:nvSpPr>
          <p:cNvPr id="41" name="Arrow: Right 40">
            <a:extLst>
              <a:ext uri="{FF2B5EF4-FFF2-40B4-BE49-F238E27FC236}">
                <a16:creationId xmlns:a16="http://schemas.microsoft.com/office/drawing/2014/main" id="{D31AE9E5-092E-4C2A-9A3B-B625BC301C2D}"/>
              </a:ext>
            </a:extLst>
          </p:cNvPr>
          <p:cNvSpPr/>
          <p:nvPr/>
        </p:nvSpPr>
        <p:spPr>
          <a:xfrm>
            <a:off x="1518872" y="2720674"/>
            <a:ext cx="5190189" cy="257835"/>
          </a:xfrm>
          <a:prstGeom prst="rightArrow">
            <a:avLst>
              <a:gd name="adj1" fmla="val 100000"/>
              <a:gd name="adj2" fmla="val 40898"/>
            </a:avLst>
          </a:prstGeom>
          <a:solidFill>
            <a:srgbClr val="DE4D1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i="1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orem ipsum</a:t>
            </a:r>
          </a:p>
        </p:txBody>
      </p:sp>
      <p:sp>
        <p:nvSpPr>
          <p:cNvPr id="42" name="Arrow: Right 41">
            <a:extLst>
              <a:ext uri="{FF2B5EF4-FFF2-40B4-BE49-F238E27FC236}">
                <a16:creationId xmlns:a16="http://schemas.microsoft.com/office/drawing/2014/main" id="{32706300-74C2-4933-AD85-42EFBFF2A4AF}"/>
              </a:ext>
            </a:extLst>
          </p:cNvPr>
          <p:cNvSpPr/>
          <p:nvPr/>
        </p:nvSpPr>
        <p:spPr>
          <a:xfrm>
            <a:off x="5591106" y="3205814"/>
            <a:ext cx="3312068" cy="257835"/>
          </a:xfrm>
          <a:prstGeom prst="rightArrow">
            <a:avLst>
              <a:gd name="adj1" fmla="val 100000"/>
              <a:gd name="adj2" fmla="val 40898"/>
            </a:avLst>
          </a:prstGeom>
          <a:solidFill>
            <a:srgbClr val="3B87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i="1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orem ipsum</a:t>
            </a:r>
          </a:p>
        </p:txBody>
      </p:sp>
      <p:sp>
        <p:nvSpPr>
          <p:cNvPr id="44" name="Arrow: Right 43">
            <a:extLst>
              <a:ext uri="{FF2B5EF4-FFF2-40B4-BE49-F238E27FC236}">
                <a16:creationId xmlns:a16="http://schemas.microsoft.com/office/drawing/2014/main" id="{8066B995-271A-48C0-86BD-DC826154ED59}"/>
              </a:ext>
            </a:extLst>
          </p:cNvPr>
          <p:cNvSpPr/>
          <p:nvPr/>
        </p:nvSpPr>
        <p:spPr>
          <a:xfrm>
            <a:off x="2279039" y="4122465"/>
            <a:ext cx="2664734" cy="257835"/>
          </a:xfrm>
          <a:prstGeom prst="rightArrow">
            <a:avLst>
              <a:gd name="adj1" fmla="val 100000"/>
              <a:gd name="adj2" fmla="val 40898"/>
            </a:avLst>
          </a:prstGeom>
          <a:solidFill>
            <a:srgbClr val="FDD0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i="1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orem ipsum</a:t>
            </a:r>
          </a:p>
        </p:txBody>
      </p:sp>
      <p:sp>
        <p:nvSpPr>
          <p:cNvPr id="45" name="Arrow: Right 44">
            <a:extLst>
              <a:ext uri="{FF2B5EF4-FFF2-40B4-BE49-F238E27FC236}">
                <a16:creationId xmlns:a16="http://schemas.microsoft.com/office/drawing/2014/main" id="{5D195DAD-CCDD-4192-BB1D-8E6E2FF23FB7}"/>
              </a:ext>
            </a:extLst>
          </p:cNvPr>
          <p:cNvSpPr/>
          <p:nvPr/>
        </p:nvSpPr>
        <p:spPr>
          <a:xfrm>
            <a:off x="1277306" y="4607605"/>
            <a:ext cx="2664734" cy="257835"/>
          </a:xfrm>
          <a:prstGeom prst="rightArrow">
            <a:avLst>
              <a:gd name="adj1" fmla="val 100000"/>
              <a:gd name="adj2" fmla="val 40898"/>
            </a:avLst>
          </a:prstGeom>
          <a:solidFill>
            <a:srgbClr val="DE4D1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i="1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orem ipsum</a:t>
            </a:r>
          </a:p>
        </p:txBody>
      </p:sp>
      <p:sp>
        <p:nvSpPr>
          <p:cNvPr id="46" name="Arrow: Right 45">
            <a:extLst>
              <a:ext uri="{FF2B5EF4-FFF2-40B4-BE49-F238E27FC236}">
                <a16:creationId xmlns:a16="http://schemas.microsoft.com/office/drawing/2014/main" id="{19137ACB-8492-4B9E-9858-B010C38C6CCB}"/>
              </a:ext>
            </a:extLst>
          </p:cNvPr>
          <p:cNvSpPr/>
          <p:nvPr/>
        </p:nvSpPr>
        <p:spPr>
          <a:xfrm>
            <a:off x="3942040" y="5092745"/>
            <a:ext cx="4961132" cy="257835"/>
          </a:xfrm>
          <a:prstGeom prst="rightArrow">
            <a:avLst>
              <a:gd name="adj1" fmla="val 100000"/>
              <a:gd name="adj2" fmla="val 40898"/>
            </a:avLst>
          </a:prstGeom>
          <a:solidFill>
            <a:srgbClr val="DE4D1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i="1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orem ipsum</a:t>
            </a:r>
          </a:p>
        </p:txBody>
      </p:sp>
      <p:sp>
        <p:nvSpPr>
          <p:cNvPr id="47" name="Arrow: Right 46">
            <a:extLst>
              <a:ext uri="{FF2B5EF4-FFF2-40B4-BE49-F238E27FC236}">
                <a16:creationId xmlns:a16="http://schemas.microsoft.com/office/drawing/2014/main" id="{C5C0E708-F541-403C-A72D-6C248F2501DC}"/>
              </a:ext>
            </a:extLst>
          </p:cNvPr>
          <p:cNvSpPr/>
          <p:nvPr/>
        </p:nvSpPr>
        <p:spPr>
          <a:xfrm>
            <a:off x="3942040" y="5577885"/>
            <a:ext cx="3312068" cy="257835"/>
          </a:xfrm>
          <a:prstGeom prst="rightArrow">
            <a:avLst>
              <a:gd name="adj1" fmla="val 100000"/>
              <a:gd name="adj2" fmla="val 40898"/>
            </a:avLst>
          </a:prstGeom>
          <a:solidFill>
            <a:srgbClr val="3B87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i="1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orem ipsum</a:t>
            </a:r>
          </a:p>
        </p:txBody>
      </p:sp>
    </p:spTree>
    <p:extLst>
      <p:ext uri="{BB962C8B-B14F-4D97-AF65-F5344CB8AC3E}">
        <p14:creationId xmlns:p14="http://schemas.microsoft.com/office/powerpoint/2010/main" val="178318470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AEB937C-5575-4028-8BA4-A0E848381F8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130117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9"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0FBC6EA-37E5-47D0-8CF2-1EA19EBE4D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4243" y="365125"/>
            <a:ext cx="11063514" cy="752475"/>
          </a:xfrm>
        </p:spPr>
        <p:txBody>
          <a:bodyPr vert="horz">
            <a:normAutofit/>
          </a:bodyPr>
          <a:lstStyle/>
          <a:p>
            <a:r>
              <a:rPr lang="en-US" sz="3600" dirty="0"/>
              <a:t>Multiple project timeline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0BD0D16-7926-444F-90A5-FB919A1DE0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13A2AF-9881-47E7-AE38-D70ECBD2298B}" type="slidenum">
              <a:rPr lang="en-US" smtClean="0"/>
              <a:t>11</a:t>
            </a:fld>
            <a:endParaRPr lang="en-US"/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0B1480C7-A361-46C9-81DD-A92DEB2388D9}"/>
              </a:ext>
            </a:extLst>
          </p:cNvPr>
          <p:cNvSpPr/>
          <p:nvPr/>
        </p:nvSpPr>
        <p:spPr>
          <a:xfrm>
            <a:off x="1231899" y="3116943"/>
            <a:ext cx="10395857" cy="624114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37E79A48-3B26-4FB1-AC28-F4AA440D5507}"/>
              </a:ext>
            </a:extLst>
          </p:cNvPr>
          <p:cNvSpPr/>
          <p:nvPr/>
        </p:nvSpPr>
        <p:spPr>
          <a:xfrm rot="16200000">
            <a:off x="415661" y="3882021"/>
            <a:ext cx="818957" cy="537029"/>
          </a:xfrm>
          <a:prstGeom prst="roundRect">
            <a:avLst>
              <a:gd name="adj" fmla="val 0"/>
            </a:avLst>
          </a:prstGeom>
          <a:solidFill>
            <a:srgbClr val="DE4D1F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400" b="1" dirty="0">
                <a:latin typeface="Segoe UI Light" panose="020B0502040204020203" pitchFamily="34" charset="0"/>
                <a:cs typeface="Segoe UI Light" panose="020B0502040204020203" pitchFamily="34" charset="0"/>
              </a:rPr>
              <a:t>Lorem</a:t>
            </a:r>
            <a:endParaRPr lang="en-US" sz="1400" b="1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8DB40F73-7ED9-46C0-BE1D-8F2080081958}"/>
              </a:ext>
            </a:extLst>
          </p:cNvPr>
          <p:cNvSpPr/>
          <p:nvPr/>
        </p:nvSpPr>
        <p:spPr>
          <a:xfrm rot="16200000">
            <a:off x="415660" y="4700550"/>
            <a:ext cx="818957" cy="537029"/>
          </a:xfrm>
          <a:prstGeom prst="roundRect">
            <a:avLst>
              <a:gd name="adj" fmla="val 0"/>
            </a:avLst>
          </a:prstGeom>
          <a:solidFill>
            <a:srgbClr val="DE4D1F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400" b="1" dirty="0">
                <a:latin typeface="Segoe UI Light" panose="020B0502040204020203" pitchFamily="34" charset="0"/>
                <a:cs typeface="Segoe UI Light" panose="020B0502040204020203" pitchFamily="34" charset="0"/>
              </a:rPr>
              <a:t>Lorem</a:t>
            </a:r>
            <a:endParaRPr lang="en-US" sz="1400" b="1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0B2CE002-A512-47C3-AF87-D2496E09182A}"/>
              </a:ext>
            </a:extLst>
          </p:cNvPr>
          <p:cNvSpPr/>
          <p:nvPr/>
        </p:nvSpPr>
        <p:spPr>
          <a:xfrm rot="16200000">
            <a:off x="415661" y="5519080"/>
            <a:ext cx="818957" cy="537029"/>
          </a:xfrm>
          <a:prstGeom prst="roundRect">
            <a:avLst>
              <a:gd name="adj" fmla="val 0"/>
            </a:avLst>
          </a:prstGeom>
          <a:solidFill>
            <a:srgbClr val="DE4D1F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400" b="1" dirty="0">
                <a:latin typeface="Segoe UI Light" panose="020B0502040204020203" pitchFamily="34" charset="0"/>
                <a:cs typeface="Segoe UI Light" panose="020B0502040204020203" pitchFamily="34" charset="0"/>
              </a:rPr>
              <a:t>Lorem</a:t>
            </a:r>
            <a:endParaRPr lang="en-US" sz="1400" b="1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0C1386F0-611C-48EC-B574-EDB2FCF29FD5}"/>
              </a:ext>
            </a:extLst>
          </p:cNvPr>
          <p:cNvCxnSpPr>
            <a:cxnSpLocks/>
          </p:cNvCxnSpPr>
          <p:nvPr/>
        </p:nvCxnSpPr>
        <p:spPr>
          <a:xfrm>
            <a:off x="1460500" y="3429000"/>
            <a:ext cx="9994900" cy="0"/>
          </a:xfrm>
          <a:prstGeom prst="line">
            <a:avLst/>
          </a:prstGeom>
          <a:ln>
            <a:solidFill>
              <a:srgbClr val="5E5E5E"/>
            </a:solidFill>
            <a:prstDash val="lgDash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Oval 14">
            <a:extLst>
              <a:ext uri="{FF2B5EF4-FFF2-40B4-BE49-F238E27FC236}">
                <a16:creationId xmlns:a16="http://schemas.microsoft.com/office/drawing/2014/main" id="{8A3D213F-7795-4ABC-AF3A-AFFA8BB44026}"/>
              </a:ext>
            </a:extLst>
          </p:cNvPr>
          <p:cNvSpPr/>
          <p:nvPr/>
        </p:nvSpPr>
        <p:spPr>
          <a:xfrm>
            <a:off x="1412914" y="3337757"/>
            <a:ext cx="182485" cy="182485"/>
          </a:xfrm>
          <a:prstGeom prst="ellipse">
            <a:avLst/>
          </a:prstGeom>
          <a:solidFill>
            <a:srgbClr val="3B87B1"/>
          </a:solidFill>
          <a:ln w="63500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0EC5D8CA-CD6C-423A-A2FB-DC953DC61DFD}"/>
              </a:ext>
            </a:extLst>
          </p:cNvPr>
          <p:cNvSpPr/>
          <p:nvPr/>
        </p:nvSpPr>
        <p:spPr>
          <a:xfrm>
            <a:off x="2879764" y="3337757"/>
            <a:ext cx="182485" cy="182485"/>
          </a:xfrm>
          <a:prstGeom prst="ellipse">
            <a:avLst/>
          </a:prstGeom>
          <a:solidFill>
            <a:srgbClr val="3B87B1"/>
          </a:solidFill>
          <a:ln w="63500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id="{02C7A665-78ED-4A1E-AAC1-2A0DA4803544}"/>
              </a:ext>
            </a:extLst>
          </p:cNvPr>
          <p:cNvSpPr/>
          <p:nvPr/>
        </p:nvSpPr>
        <p:spPr>
          <a:xfrm>
            <a:off x="4613314" y="3337757"/>
            <a:ext cx="182485" cy="182485"/>
          </a:xfrm>
          <a:prstGeom prst="ellipse">
            <a:avLst/>
          </a:prstGeom>
          <a:solidFill>
            <a:srgbClr val="3B87B1"/>
          </a:solidFill>
          <a:ln w="63500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69BB00E4-0CE4-4D4C-8AE2-4DFF93F21002}"/>
              </a:ext>
            </a:extLst>
          </p:cNvPr>
          <p:cNvSpPr/>
          <p:nvPr/>
        </p:nvSpPr>
        <p:spPr>
          <a:xfrm>
            <a:off x="6346864" y="3337757"/>
            <a:ext cx="182485" cy="182485"/>
          </a:xfrm>
          <a:prstGeom prst="ellipse">
            <a:avLst/>
          </a:prstGeom>
          <a:solidFill>
            <a:srgbClr val="3B87B1"/>
          </a:solidFill>
          <a:ln w="63500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8D533CCD-177C-4BE3-8388-65497089CD91}"/>
              </a:ext>
            </a:extLst>
          </p:cNvPr>
          <p:cNvSpPr/>
          <p:nvPr/>
        </p:nvSpPr>
        <p:spPr>
          <a:xfrm>
            <a:off x="8076604" y="3337757"/>
            <a:ext cx="182485" cy="182485"/>
          </a:xfrm>
          <a:prstGeom prst="ellipse">
            <a:avLst/>
          </a:prstGeom>
          <a:solidFill>
            <a:srgbClr val="3B87B1"/>
          </a:solidFill>
          <a:ln w="63500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939D6932-BF83-4D6B-BC90-1BF60CEEB8D4}"/>
              </a:ext>
            </a:extLst>
          </p:cNvPr>
          <p:cNvSpPr/>
          <p:nvPr/>
        </p:nvSpPr>
        <p:spPr>
          <a:xfrm>
            <a:off x="9798724" y="3337757"/>
            <a:ext cx="182485" cy="182485"/>
          </a:xfrm>
          <a:prstGeom prst="ellipse">
            <a:avLst/>
          </a:prstGeom>
          <a:solidFill>
            <a:srgbClr val="3B87B1"/>
          </a:solidFill>
          <a:ln w="63500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Rectangle: Rounded Corners 30">
            <a:extLst>
              <a:ext uri="{FF2B5EF4-FFF2-40B4-BE49-F238E27FC236}">
                <a16:creationId xmlns:a16="http://schemas.microsoft.com/office/drawing/2014/main" id="{6FBB10E2-563C-406D-8ED3-FCE7FFA45260}"/>
              </a:ext>
            </a:extLst>
          </p:cNvPr>
          <p:cNvSpPr/>
          <p:nvPr/>
        </p:nvSpPr>
        <p:spPr>
          <a:xfrm>
            <a:off x="564244" y="1117600"/>
            <a:ext cx="1587273" cy="1528462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 marL="216000" indent="-2160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orem ipsum dolor sit </a:t>
            </a:r>
            <a:r>
              <a:rPr lang="en-US" sz="1400" dirty="0" err="1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met</a:t>
            </a:r>
            <a:r>
              <a:rPr lang="en-US" sz="1400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, </a:t>
            </a:r>
            <a:r>
              <a:rPr lang="en-US" sz="1400" dirty="0" err="1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onsectetur</a:t>
            </a:r>
            <a:r>
              <a:rPr lang="en-US" sz="1400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</a:p>
          <a:p>
            <a:pPr marL="216000" indent="-2160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orem ipsum dolor sit </a:t>
            </a:r>
            <a:r>
              <a:rPr lang="en-US" sz="1400" dirty="0" err="1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met</a:t>
            </a:r>
            <a:r>
              <a:rPr lang="en-US" sz="1400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, </a:t>
            </a:r>
            <a:r>
              <a:rPr lang="en-US" sz="1400" dirty="0" err="1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onsectetur</a:t>
            </a:r>
            <a:endParaRPr lang="en-US" sz="1400" dirty="0">
              <a:solidFill>
                <a:schemeClr val="tx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32" name="Rectangle: Rounded Corners 31">
            <a:extLst>
              <a:ext uri="{FF2B5EF4-FFF2-40B4-BE49-F238E27FC236}">
                <a16:creationId xmlns:a16="http://schemas.microsoft.com/office/drawing/2014/main" id="{80BD20B3-BEF8-42D2-9B25-9BE707677199}"/>
              </a:ext>
            </a:extLst>
          </p:cNvPr>
          <p:cNvSpPr/>
          <p:nvPr/>
        </p:nvSpPr>
        <p:spPr>
          <a:xfrm>
            <a:off x="564244" y="2737303"/>
            <a:ext cx="1587273" cy="223612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>
              <a:spcAft>
                <a:spcPts val="600"/>
              </a:spcAft>
            </a:pPr>
            <a:r>
              <a:rPr lang="en-US" sz="1400" b="1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orem ipsum</a:t>
            </a:r>
          </a:p>
        </p:txBody>
      </p:sp>
      <p:sp>
        <p:nvSpPr>
          <p:cNvPr id="33" name="Rectangle: Rounded Corners 32">
            <a:extLst>
              <a:ext uri="{FF2B5EF4-FFF2-40B4-BE49-F238E27FC236}">
                <a16:creationId xmlns:a16="http://schemas.microsoft.com/office/drawing/2014/main" id="{DE666F79-7470-4704-8D04-04628A1BC152}"/>
              </a:ext>
            </a:extLst>
          </p:cNvPr>
          <p:cNvSpPr/>
          <p:nvPr/>
        </p:nvSpPr>
        <p:spPr>
          <a:xfrm>
            <a:off x="2182719" y="1117600"/>
            <a:ext cx="1587273" cy="1528462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 marL="216000" indent="-2160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orem ipsum dolor sit </a:t>
            </a:r>
            <a:r>
              <a:rPr lang="en-US" sz="1400" dirty="0" err="1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met</a:t>
            </a:r>
            <a:r>
              <a:rPr lang="en-US" sz="1400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, </a:t>
            </a:r>
            <a:r>
              <a:rPr lang="en-US" sz="1400" dirty="0" err="1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onsectetur</a:t>
            </a:r>
            <a:endParaRPr lang="en-US" sz="1400" dirty="0">
              <a:solidFill>
                <a:schemeClr val="tx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  <a:p>
            <a:pPr marL="216000" indent="-2160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orem ipsum dolor sit </a:t>
            </a:r>
            <a:r>
              <a:rPr lang="en-US" sz="1400" dirty="0" err="1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met</a:t>
            </a:r>
            <a:r>
              <a:rPr lang="en-US" sz="1400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, </a:t>
            </a:r>
            <a:r>
              <a:rPr lang="en-US" sz="1400" dirty="0" err="1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onsectetur</a:t>
            </a:r>
            <a:endParaRPr lang="en-US" sz="1400" dirty="0">
              <a:solidFill>
                <a:schemeClr val="tx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34" name="Rectangle: Rounded Corners 33">
            <a:extLst>
              <a:ext uri="{FF2B5EF4-FFF2-40B4-BE49-F238E27FC236}">
                <a16:creationId xmlns:a16="http://schemas.microsoft.com/office/drawing/2014/main" id="{7343B91F-1F26-41A5-A27D-AE92ED8363C3}"/>
              </a:ext>
            </a:extLst>
          </p:cNvPr>
          <p:cNvSpPr/>
          <p:nvPr/>
        </p:nvSpPr>
        <p:spPr>
          <a:xfrm>
            <a:off x="2182719" y="2737303"/>
            <a:ext cx="1587273" cy="223612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>
              <a:spcAft>
                <a:spcPts val="600"/>
              </a:spcAft>
            </a:pPr>
            <a:r>
              <a:rPr lang="en-US" sz="1400" b="1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orem ipsum</a:t>
            </a:r>
          </a:p>
        </p:txBody>
      </p:sp>
      <p:sp>
        <p:nvSpPr>
          <p:cNvPr id="35" name="Rectangle: Rounded Corners 34">
            <a:extLst>
              <a:ext uri="{FF2B5EF4-FFF2-40B4-BE49-F238E27FC236}">
                <a16:creationId xmlns:a16="http://schemas.microsoft.com/office/drawing/2014/main" id="{006060F9-BE37-4BA7-8B57-18727CE88E7F}"/>
              </a:ext>
            </a:extLst>
          </p:cNvPr>
          <p:cNvSpPr/>
          <p:nvPr/>
        </p:nvSpPr>
        <p:spPr>
          <a:xfrm>
            <a:off x="3915360" y="1117600"/>
            <a:ext cx="1587273" cy="1528462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 marL="216000" indent="-2160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orem ipsum dolor sit </a:t>
            </a:r>
            <a:r>
              <a:rPr lang="en-US" sz="1400" dirty="0" err="1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met</a:t>
            </a:r>
            <a:r>
              <a:rPr lang="en-US" sz="1400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, </a:t>
            </a:r>
            <a:r>
              <a:rPr lang="en-US" sz="1400" dirty="0" err="1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onsectetur</a:t>
            </a:r>
            <a:endParaRPr lang="en-US" sz="1400" dirty="0">
              <a:solidFill>
                <a:schemeClr val="tx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  <a:p>
            <a:pPr marL="216000" indent="-2160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orem ipsum dolor sit </a:t>
            </a:r>
            <a:r>
              <a:rPr lang="en-US" sz="1400" dirty="0" err="1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met</a:t>
            </a:r>
            <a:r>
              <a:rPr lang="en-US" sz="1400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, </a:t>
            </a:r>
            <a:r>
              <a:rPr lang="en-US" sz="1400" dirty="0" err="1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onsectetur</a:t>
            </a:r>
            <a:endParaRPr lang="en-US" sz="1400" dirty="0">
              <a:solidFill>
                <a:schemeClr val="tx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36" name="Rectangle: Rounded Corners 35">
            <a:extLst>
              <a:ext uri="{FF2B5EF4-FFF2-40B4-BE49-F238E27FC236}">
                <a16:creationId xmlns:a16="http://schemas.microsoft.com/office/drawing/2014/main" id="{A040B734-FDB0-4109-B8B1-246DB5C5B7C1}"/>
              </a:ext>
            </a:extLst>
          </p:cNvPr>
          <p:cNvSpPr/>
          <p:nvPr/>
        </p:nvSpPr>
        <p:spPr>
          <a:xfrm>
            <a:off x="3915360" y="2737303"/>
            <a:ext cx="1587273" cy="223612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>
              <a:spcAft>
                <a:spcPts val="600"/>
              </a:spcAft>
            </a:pPr>
            <a:r>
              <a:rPr lang="en-US" sz="1400" b="1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orem ipsum</a:t>
            </a:r>
          </a:p>
        </p:txBody>
      </p:sp>
      <p:sp>
        <p:nvSpPr>
          <p:cNvPr id="37" name="Rectangle: Rounded Corners 36">
            <a:extLst>
              <a:ext uri="{FF2B5EF4-FFF2-40B4-BE49-F238E27FC236}">
                <a16:creationId xmlns:a16="http://schemas.microsoft.com/office/drawing/2014/main" id="{FEDC2568-9FA0-4FD1-822F-0813A4C0438D}"/>
              </a:ext>
            </a:extLst>
          </p:cNvPr>
          <p:cNvSpPr/>
          <p:nvPr/>
        </p:nvSpPr>
        <p:spPr>
          <a:xfrm>
            <a:off x="5648001" y="1117600"/>
            <a:ext cx="1587273" cy="1528462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 marL="216000" indent="-2160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orem ipsum dolor sit </a:t>
            </a:r>
            <a:r>
              <a:rPr lang="en-US" sz="1400" dirty="0" err="1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met</a:t>
            </a:r>
            <a:r>
              <a:rPr lang="en-US" sz="1400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, </a:t>
            </a:r>
            <a:r>
              <a:rPr lang="en-US" sz="1400" dirty="0" err="1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onsectetur</a:t>
            </a:r>
            <a:endParaRPr lang="en-US" sz="1400" dirty="0">
              <a:solidFill>
                <a:schemeClr val="tx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  <a:p>
            <a:pPr marL="216000" indent="-2160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orem ipsum dolor sit </a:t>
            </a:r>
            <a:r>
              <a:rPr lang="en-US" sz="1400" dirty="0" err="1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met</a:t>
            </a:r>
            <a:r>
              <a:rPr lang="en-US" sz="1400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, </a:t>
            </a:r>
            <a:r>
              <a:rPr lang="en-US" sz="1400" dirty="0" err="1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onsectetur</a:t>
            </a:r>
            <a:endParaRPr lang="en-US" sz="1400" dirty="0">
              <a:solidFill>
                <a:schemeClr val="tx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58025369-0D68-455B-9F0F-53E453E5E58B}"/>
              </a:ext>
            </a:extLst>
          </p:cNvPr>
          <p:cNvSpPr/>
          <p:nvPr/>
        </p:nvSpPr>
        <p:spPr>
          <a:xfrm>
            <a:off x="5648001" y="2737303"/>
            <a:ext cx="1587273" cy="223612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>
              <a:spcAft>
                <a:spcPts val="600"/>
              </a:spcAft>
            </a:pPr>
            <a:r>
              <a:rPr lang="en-US" sz="1400" b="1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orem ipsum</a:t>
            </a:r>
          </a:p>
        </p:txBody>
      </p:sp>
      <p:sp>
        <p:nvSpPr>
          <p:cNvPr id="39" name="Rectangle: Rounded Corners 38">
            <a:extLst>
              <a:ext uri="{FF2B5EF4-FFF2-40B4-BE49-F238E27FC236}">
                <a16:creationId xmlns:a16="http://schemas.microsoft.com/office/drawing/2014/main" id="{92D48519-70C2-4F51-930B-75065D340969}"/>
              </a:ext>
            </a:extLst>
          </p:cNvPr>
          <p:cNvSpPr/>
          <p:nvPr/>
        </p:nvSpPr>
        <p:spPr>
          <a:xfrm>
            <a:off x="7368832" y="1117600"/>
            <a:ext cx="1587273" cy="1528462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 marL="216000" indent="-2160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orem ipsum dolor sit </a:t>
            </a:r>
            <a:r>
              <a:rPr lang="en-US" sz="1400" dirty="0" err="1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met</a:t>
            </a:r>
            <a:r>
              <a:rPr lang="en-US" sz="1400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, </a:t>
            </a:r>
            <a:r>
              <a:rPr lang="en-US" sz="1400" dirty="0" err="1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onsectetur</a:t>
            </a:r>
            <a:endParaRPr lang="en-US" sz="1400" dirty="0">
              <a:solidFill>
                <a:schemeClr val="tx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  <a:p>
            <a:pPr marL="216000" indent="-2160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orem ipsum dolor sit </a:t>
            </a:r>
            <a:r>
              <a:rPr lang="en-US" sz="1400" dirty="0" err="1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met</a:t>
            </a:r>
            <a:r>
              <a:rPr lang="en-US" sz="1400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, </a:t>
            </a:r>
            <a:r>
              <a:rPr lang="en-US" sz="1400" dirty="0" err="1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onsectetur</a:t>
            </a:r>
            <a:endParaRPr lang="en-US" sz="1400" dirty="0">
              <a:solidFill>
                <a:schemeClr val="tx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40" name="Rectangle: Rounded Corners 39">
            <a:extLst>
              <a:ext uri="{FF2B5EF4-FFF2-40B4-BE49-F238E27FC236}">
                <a16:creationId xmlns:a16="http://schemas.microsoft.com/office/drawing/2014/main" id="{B8C229A7-2E5D-4D9E-A29E-DE9518E110E4}"/>
              </a:ext>
            </a:extLst>
          </p:cNvPr>
          <p:cNvSpPr/>
          <p:nvPr/>
        </p:nvSpPr>
        <p:spPr>
          <a:xfrm>
            <a:off x="7368832" y="2737303"/>
            <a:ext cx="1587273" cy="223612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>
              <a:spcAft>
                <a:spcPts val="600"/>
              </a:spcAft>
            </a:pPr>
            <a:r>
              <a:rPr lang="en-US" sz="1400" b="1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orem ipsum</a:t>
            </a:r>
          </a:p>
        </p:txBody>
      </p:sp>
      <p:sp>
        <p:nvSpPr>
          <p:cNvPr id="41" name="Rectangle: Rounded Corners 40">
            <a:extLst>
              <a:ext uri="{FF2B5EF4-FFF2-40B4-BE49-F238E27FC236}">
                <a16:creationId xmlns:a16="http://schemas.microsoft.com/office/drawing/2014/main" id="{BDA9EAA1-03BF-47E5-956F-DB80472B88C5}"/>
              </a:ext>
            </a:extLst>
          </p:cNvPr>
          <p:cNvSpPr/>
          <p:nvPr/>
        </p:nvSpPr>
        <p:spPr>
          <a:xfrm>
            <a:off x="9101473" y="1117600"/>
            <a:ext cx="1587273" cy="1528462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 marL="216000" indent="-2160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orem ipsum dolor sit </a:t>
            </a:r>
            <a:r>
              <a:rPr lang="en-US" sz="1400" dirty="0" err="1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met</a:t>
            </a:r>
            <a:r>
              <a:rPr lang="en-US" sz="1400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, </a:t>
            </a:r>
            <a:r>
              <a:rPr lang="en-US" sz="1400" dirty="0" err="1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onsectetur</a:t>
            </a:r>
            <a:endParaRPr lang="en-US" sz="1400" dirty="0">
              <a:solidFill>
                <a:schemeClr val="tx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  <a:p>
            <a:pPr marL="216000" indent="-2160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orem ipsum dolor sit </a:t>
            </a:r>
            <a:r>
              <a:rPr lang="en-US" sz="1400" dirty="0" err="1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met</a:t>
            </a:r>
            <a:r>
              <a:rPr lang="en-US" sz="1400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, </a:t>
            </a:r>
            <a:r>
              <a:rPr lang="en-US" sz="1400" dirty="0" err="1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onsectetur</a:t>
            </a:r>
            <a:endParaRPr lang="en-US" sz="1400" dirty="0">
              <a:solidFill>
                <a:schemeClr val="tx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42" name="Rectangle: Rounded Corners 41">
            <a:extLst>
              <a:ext uri="{FF2B5EF4-FFF2-40B4-BE49-F238E27FC236}">
                <a16:creationId xmlns:a16="http://schemas.microsoft.com/office/drawing/2014/main" id="{D7648FB2-67D3-4095-9B0A-320F166296C5}"/>
              </a:ext>
            </a:extLst>
          </p:cNvPr>
          <p:cNvSpPr/>
          <p:nvPr/>
        </p:nvSpPr>
        <p:spPr>
          <a:xfrm>
            <a:off x="9101473" y="2737303"/>
            <a:ext cx="1587273" cy="223612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>
              <a:spcAft>
                <a:spcPts val="600"/>
              </a:spcAft>
            </a:pPr>
            <a:r>
              <a:rPr lang="en-US" sz="1400" b="1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orem ipsum</a:t>
            </a:r>
          </a:p>
        </p:txBody>
      </p:sp>
      <p:grpSp>
        <p:nvGrpSpPr>
          <p:cNvPr id="43" name="Group 42">
            <a:extLst>
              <a:ext uri="{FF2B5EF4-FFF2-40B4-BE49-F238E27FC236}">
                <a16:creationId xmlns:a16="http://schemas.microsoft.com/office/drawing/2014/main" id="{DCE9B1B2-B2C6-4331-B1B8-0636D3185973}"/>
              </a:ext>
            </a:extLst>
          </p:cNvPr>
          <p:cNvGrpSpPr/>
          <p:nvPr/>
        </p:nvGrpSpPr>
        <p:grpSpPr>
          <a:xfrm>
            <a:off x="1495135" y="3009900"/>
            <a:ext cx="8399979" cy="419099"/>
            <a:chOff x="1495135" y="-628650"/>
            <a:chExt cx="8399979" cy="7334250"/>
          </a:xfrm>
        </p:grpSpPr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7B3A12DE-A8C2-4DAE-8347-B40492C82138}"/>
                </a:ext>
              </a:extLst>
            </p:cNvPr>
            <p:cNvCxnSpPr>
              <a:cxnSpLocks/>
            </p:cNvCxnSpPr>
            <p:nvPr/>
          </p:nvCxnSpPr>
          <p:spPr>
            <a:xfrm>
              <a:off x="1495135" y="-628650"/>
              <a:ext cx="0" cy="7334250"/>
            </a:xfrm>
            <a:prstGeom prst="line">
              <a:avLst/>
            </a:prstGeom>
            <a:ln>
              <a:headEnd type="oval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BEEF153D-B4C3-403E-973E-55EFCE3A676E}"/>
                </a:ext>
              </a:extLst>
            </p:cNvPr>
            <p:cNvCxnSpPr>
              <a:cxnSpLocks/>
            </p:cNvCxnSpPr>
            <p:nvPr/>
          </p:nvCxnSpPr>
          <p:spPr>
            <a:xfrm>
              <a:off x="2964542" y="-628650"/>
              <a:ext cx="0" cy="7334250"/>
            </a:xfrm>
            <a:prstGeom prst="line">
              <a:avLst/>
            </a:prstGeom>
            <a:ln>
              <a:headEnd type="oval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B052E00E-0DEF-4FDD-AF59-84231ACA2AB4}"/>
                </a:ext>
              </a:extLst>
            </p:cNvPr>
            <p:cNvCxnSpPr>
              <a:cxnSpLocks/>
            </p:cNvCxnSpPr>
            <p:nvPr/>
          </p:nvCxnSpPr>
          <p:spPr>
            <a:xfrm>
              <a:off x="4697185" y="-628650"/>
              <a:ext cx="0" cy="7334250"/>
            </a:xfrm>
            <a:prstGeom prst="line">
              <a:avLst/>
            </a:prstGeom>
            <a:ln>
              <a:headEnd type="oval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75CA9221-A133-44DF-ACBE-E5BACB251B37}"/>
                </a:ext>
              </a:extLst>
            </p:cNvPr>
            <p:cNvCxnSpPr>
              <a:cxnSpLocks/>
            </p:cNvCxnSpPr>
            <p:nvPr/>
          </p:nvCxnSpPr>
          <p:spPr>
            <a:xfrm>
              <a:off x="6429828" y="-628650"/>
              <a:ext cx="0" cy="7334250"/>
            </a:xfrm>
            <a:prstGeom prst="line">
              <a:avLst/>
            </a:prstGeom>
            <a:ln>
              <a:headEnd type="oval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01A350A2-465F-47FC-8488-6DC88F549BD4}"/>
                </a:ext>
              </a:extLst>
            </p:cNvPr>
            <p:cNvCxnSpPr>
              <a:cxnSpLocks/>
            </p:cNvCxnSpPr>
            <p:nvPr/>
          </p:nvCxnSpPr>
          <p:spPr>
            <a:xfrm>
              <a:off x="8162471" y="-628650"/>
              <a:ext cx="0" cy="7334250"/>
            </a:xfrm>
            <a:prstGeom prst="line">
              <a:avLst/>
            </a:prstGeom>
            <a:ln>
              <a:headEnd type="oval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2D2B1399-A13D-41B5-8B70-5141C5AD45AB}"/>
                </a:ext>
              </a:extLst>
            </p:cNvPr>
            <p:cNvCxnSpPr>
              <a:cxnSpLocks/>
            </p:cNvCxnSpPr>
            <p:nvPr/>
          </p:nvCxnSpPr>
          <p:spPr>
            <a:xfrm>
              <a:off x="9895114" y="-628650"/>
              <a:ext cx="0" cy="7334250"/>
            </a:xfrm>
            <a:prstGeom prst="line">
              <a:avLst/>
            </a:prstGeom>
            <a:ln>
              <a:headEnd type="oval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4" name="Arrow: Right 43">
            <a:extLst>
              <a:ext uri="{FF2B5EF4-FFF2-40B4-BE49-F238E27FC236}">
                <a16:creationId xmlns:a16="http://schemas.microsoft.com/office/drawing/2014/main" id="{668A8609-C403-4FB9-B782-431336782539}"/>
              </a:ext>
            </a:extLst>
          </p:cNvPr>
          <p:cNvSpPr/>
          <p:nvPr/>
        </p:nvSpPr>
        <p:spPr>
          <a:xfrm>
            <a:off x="2879763" y="3976539"/>
            <a:ext cx="1916035" cy="347993"/>
          </a:xfrm>
          <a:prstGeom prst="rightArrow">
            <a:avLst>
              <a:gd name="adj1" fmla="val 100000"/>
              <a:gd name="adj2" fmla="val 40898"/>
            </a:avLst>
          </a:prstGeom>
          <a:solidFill>
            <a:srgbClr val="77831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i="1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orem ipsum</a:t>
            </a:r>
          </a:p>
        </p:txBody>
      </p:sp>
      <p:sp>
        <p:nvSpPr>
          <p:cNvPr id="45" name="Arrow: Right 44">
            <a:extLst>
              <a:ext uri="{FF2B5EF4-FFF2-40B4-BE49-F238E27FC236}">
                <a16:creationId xmlns:a16="http://schemas.microsoft.com/office/drawing/2014/main" id="{92394D76-3F5C-431B-A2A9-0A97492C728C}"/>
              </a:ext>
            </a:extLst>
          </p:cNvPr>
          <p:cNvSpPr/>
          <p:nvPr/>
        </p:nvSpPr>
        <p:spPr>
          <a:xfrm>
            <a:off x="1412914" y="3976539"/>
            <a:ext cx="1649335" cy="347993"/>
          </a:xfrm>
          <a:prstGeom prst="rightArrow">
            <a:avLst>
              <a:gd name="adj1" fmla="val 100000"/>
              <a:gd name="adj2" fmla="val 40898"/>
            </a:avLst>
          </a:prstGeom>
          <a:solidFill>
            <a:srgbClr val="A6B72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i="1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orem ipsum</a:t>
            </a:r>
          </a:p>
        </p:txBody>
      </p:sp>
      <p:sp>
        <p:nvSpPr>
          <p:cNvPr id="46" name="Arrow: Right 45">
            <a:extLst>
              <a:ext uri="{FF2B5EF4-FFF2-40B4-BE49-F238E27FC236}">
                <a16:creationId xmlns:a16="http://schemas.microsoft.com/office/drawing/2014/main" id="{E7185BA1-B683-4EE1-B3A2-A65FB8A79F73}"/>
              </a:ext>
            </a:extLst>
          </p:cNvPr>
          <p:cNvSpPr/>
          <p:nvPr/>
        </p:nvSpPr>
        <p:spPr>
          <a:xfrm>
            <a:off x="7683500" y="4890939"/>
            <a:ext cx="1790700" cy="347993"/>
          </a:xfrm>
          <a:prstGeom prst="rightArrow">
            <a:avLst>
              <a:gd name="adj1" fmla="val 100000"/>
              <a:gd name="adj2" fmla="val 40898"/>
            </a:avLst>
          </a:prstGeom>
          <a:solidFill>
            <a:srgbClr val="77831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i="1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orem ipsum</a:t>
            </a:r>
          </a:p>
        </p:txBody>
      </p:sp>
      <p:sp>
        <p:nvSpPr>
          <p:cNvPr id="47" name="Arrow: Right 46">
            <a:extLst>
              <a:ext uri="{FF2B5EF4-FFF2-40B4-BE49-F238E27FC236}">
                <a16:creationId xmlns:a16="http://schemas.microsoft.com/office/drawing/2014/main" id="{A918FBF0-D17C-45E6-95F7-8325964B49D8}"/>
              </a:ext>
            </a:extLst>
          </p:cNvPr>
          <p:cNvSpPr/>
          <p:nvPr/>
        </p:nvSpPr>
        <p:spPr>
          <a:xfrm>
            <a:off x="2879763" y="4890939"/>
            <a:ext cx="4994237" cy="347993"/>
          </a:xfrm>
          <a:prstGeom prst="rightArrow">
            <a:avLst>
              <a:gd name="adj1" fmla="val 100000"/>
              <a:gd name="adj2" fmla="val 40898"/>
            </a:avLst>
          </a:prstGeom>
          <a:solidFill>
            <a:srgbClr val="A6B72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i="1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orem ipsum</a:t>
            </a:r>
          </a:p>
        </p:txBody>
      </p:sp>
      <p:sp>
        <p:nvSpPr>
          <p:cNvPr id="48" name="Arrow: Right 47">
            <a:extLst>
              <a:ext uri="{FF2B5EF4-FFF2-40B4-BE49-F238E27FC236}">
                <a16:creationId xmlns:a16="http://schemas.microsoft.com/office/drawing/2014/main" id="{AF392474-C33C-4A05-ACE1-E45FB26BA295}"/>
              </a:ext>
            </a:extLst>
          </p:cNvPr>
          <p:cNvSpPr/>
          <p:nvPr/>
        </p:nvSpPr>
        <p:spPr>
          <a:xfrm>
            <a:off x="7683500" y="5631342"/>
            <a:ext cx="3771900" cy="347993"/>
          </a:xfrm>
          <a:prstGeom prst="rightArrow">
            <a:avLst>
              <a:gd name="adj1" fmla="val 100000"/>
              <a:gd name="adj2" fmla="val 40898"/>
            </a:avLst>
          </a:prstGeom>
          <a:solidFill>
            <a:srgbClr val="77831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i="1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orem ipsum</a:t>
            </a:r>
          </a:p>
        </p:txBody>
      </p:sp>
      <p:sp>
        <p:nvSpPr>
          <p:cNvPr id="49" name="Arrow: Right 48">
            <a:extLst>
              <a:ext uri="{FF2B5EF4-FFF2-40B4-BE49-F238E27FC236}">
                <a16:creationId xmlns:a16="http://schemas.microsoft.com/office/drawing/2014/main" id="{62492328-DB4E-4E37-9491-D044206A35A0}"/>
              </a:ext>
            </a:extLst>
          </p:cNvPr>
          <p:cNvSpPr/>
          <p:nvPr/>
        </p:nvSpPr>
        <p:spPr>
          <a:xfrm>
            <a:off x="5648001" y="5631342"/>
            <a:ext cx="2225999" cy="347993"/>
          </a:xfrm>
          <a:prstGeom prst="rightArrow">
            <a:avLst>
              <a:gd name="adj1" fmla="val 100000"/>
              <a:gd name="adj2" fmla="val 40898"/>
            </a:avLst>
          </a:prstGeom>
          <a:solidFill>
            <a:srgbClr val="A6B72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i="1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orem ipsum</a:t>
            </a:r>
          </a:p>
        </p:txBody>
      </p:sp>
    </p:spTree>
    <p:extLst>
      <p:ext uri="{BB962C8B-B14F-4D97-AF65-F5344CB8AC3E}">
        <p14:creationId xmlns:p14="http://schemas.microsoft.com/office/powerpoint/2010/main" val="42781283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picture containing text&#10;&#10;Description automatically generated">
            <a:extLst>
              <a:ext uri="{FF2B5EF4-FFF2-40B4-BE49-F238E27FC236}">
                <a16:creationId xmlns:a16="http://schemas.microsoft.com/office/drawing/2014/main" id="{C5CF843D-1F99-4782-B069-389DA162BFC1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0710" y="1438565"/>
            <a:ext cx="2824101" cy="4602602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75E06610-2687-4FAB-B4D4-17F2C2CE3A23}"/>
              </a:ext>
            </a:extLst>
          </p:cNvPr>
          <p:cNvSpPr/>
          <p:nvPr/>
        </p:nvSpPr>
        <p:spPr>
          <a:xfrm>
            <a:off x="970710" y="1438564"/>
            <a:ext cx="2824101" cy="4602603"/>
          </a:xfrm>
          <a:prstGeom prst="rect">
            <a:avLst/>
          </a:prstGeom>
          <a:solidFill>
            <a:schemeClr val="tx1"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0" name="Rectangle: Top Corners Rounded 19">
            <a:extLst>
              <a:ext uri="{FF2B5EF4-FFF2-40B4-BE49-F238E27FC236}">
                <a16:creationId xmlns:a16="http://schemas.microsoft.com/office/drawing/2014/main" id="{BE051A5B-1ED9-472B-A7FC-40F7B1CFCB0A}"/>
              </a:ext>
            </a:extLst>
          </p:cNvPr>
          <p:cNvSpPr/>
          <p:nvPr/>
        </p:nvSpPr>
        <p:spPr>
          <a:xfrm rot="16200000">
            <a:off x="-1533822" y="3536633"/>
            <a:ext cx="4602599" cy="406470"/>
          </a:xfrm>
          <a:prstGeom prst="round2SameRect">
            <a:avLst>
              <a:gd name="adj1" fmla="val 41175"/>
              <a:gd name="adj2" fmla="val 0"/>
            </a:avLst>
          </a:prstGeom>
          <a:gradFill flip="none" rotWithShape="1">
            <a:gsLst>
              <a:gs pos="0">
                <a:srgbClr val="295E7B">
                  <a:lumMod val="98000"/>
                </a:srgbClr>
              </a:gs>
              <a:gs pos="100000">
                <a:srgbClr val="3B87B1"/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600" i="1" dirty="0">
                <a:latin typeface="Segoe UI Light" panose="020B0502040204020203" pitchFamily="34" charset="0"/>
                <a:cs typeface="Segoe UI Light" panose="020B0502040204020203" pitchFamily="34" charset="0"/>
              </a:rPr>
              <a:t>Lorem ipsum</a:t>
            </a:r>
            <a:endParaRPr lang="en-US" sz="1600" i="1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9D00583-9562-46FC-AAED-AB61C8DB79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D" dirty="0"/>
              <a:t>Multiple project timelines</a:t>
            </a: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1B722FED-47C5-431E-B7BF-A23A43E2EBC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99914207"/>
              </p:ext>
            </p:extLst>
          </p:nvPr>
        </p:nvGraphicFramePr>
        <p:xfrm>
          <a:off x="970710" y="1438570"/>
          <a:ext cx="11221282" cy="4611833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282387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7088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7088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7088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270884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270884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270884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270884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270884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270884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270884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270884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  <a:gridCol w="270884">
                  <a:extLst>
                    <a:ext uri="{9D8B030D-6E8A-4147-A177-3AD203B41FA5}">
                      <a16:colId xmlns:a16="http://schemas.microsoft.com/office/drawing/2014/main" val="20012"/>
                    </a:ext>
                  </a:extLst>
                </a:gridCol>
                <a:gridCol w="270884">
                  <a:extLst>
                    <a:ext uri="{9D8B030D-6E8A-4147-A177-3AD203B41FA5}">
                      <a16:colId xmlns:a16="http://schemas.microsoft.com/office/drawing/2014/main" val="20013"/>
                    </a:ext>
                  </a:extLst>
                </a:gridCol>
                <a:gridCol w="270884">
                  <a:extLst>
                    <a:ext uri="{9D8B030D-6E8A-4147-A177-3AD203B41FA5}">
                      <a16:colId xmlns:a16="http://schemas.microsoft.com/office/drawing/2014/main" val="20014"/>
                    </a:ext>
                  </a:extLst>
                </a:gridCol>
                <a:gridCol w="270884">
                  <a:extLst>
                    <a:ext uri="{9D8B030D-6E8A-4147-A177-3AD203B41FA5}">
                      <a16:colId xmlns:a16="http://schemas.microsoft.com/office/drawing/2014/main" val="20015"/>
                    </a:ext>
                  </a:extLst>
                </a:gridCol>
                <a:gridCol w="270884">
                  <a:extLst>
                    <a:ext uri="{9D8B030D-6E8A-4147-A177-3AD203B41FA5}">
                      <a16:colId xmlns:a16="http://schemas.microsoft.com/office/drawing/2014/main" val="20016"/>
                    </a:ext>
                  </a:extLst>
                </a:gridCol>
                <a:gridCol w="270884">
                  <a:extLst>
                    <a:ext uri="{9D8B030D-6E8A-4147-A177-3AD203B41FA5}">
                      <a16:colId xmlns:a16="http://schemas.microsoft.com/office/drawing/2014/main" val="20017"/>
                    </a:ext>
                  </a:extLst>
                </a:gridCol>
                <a:gridCol w="270884">
                  <a:extLst>
                    <a:ext uri="{9D8B030D-6E8A-4147-A177-3AD203B41FA5}">
                      <a16:colId xmlns:a16="http://schemas.microsoft.com/office/drawing/2014/main" val="20018"/>
                    </a:ext>
                  </a:extLst>
                </a:gridCol>
                <a:gridCol w="270884">
                  <a:extLst>
                    <a:ext uri="{9D8B030D-6E8A-4147-A177-3AD203B41FA5}">
                      <a16:colId xmlns:a16="http://schemas.microsoft.com/office/drawing/2014/main" val="20019"/>
                    </a:ext>
                  </a:extLst>
                </a:gridCol>
                <a:gridCol w="270884">
                  <a:extLst>
                    <a:ext uri="{9D8B030D-6E8A-4147-A177-3AD203B41FA5}">
                      <a16:colId xmlns:a16="http://schemas.microsoft.com/office/drawing/2014/main" val="20020"/>
                    </a:ext>
                  </a:extLst>
                </a:gridCol>
                <a:gridCol w="270884">
                  <a:extLst>
                    <a:ext uri="{9D8B030D-6E8A-4147-A177-3AD203B41FA5}">
                      <a16:colId xmlns:a16="http://schemas.microsoft.com/office/drawing/2014/main" val="20021"/>
                    </a:ext>
                  </a:extLst>
                </a:gridCol>
                <a:gridCol w="270884">
                  <a:extLst>
                    <a:ext uri="{9D8B030D-6E8A-4147-A177-3AD203B41FA5}">
                      <a16:colId xmlns:a16="http://schemas.microsoft.com/office/drawing/2014/main" val="20022"/>
                    </a:ext>
                  </a:extLst>
                </a:gridCol>
                <a:gridCol w="270884">
                  <a:extLst>
                    <a:ext uri="{9D8B030D-6E8A-4147-A177-3AD203B41FA5}">
                      <a16:colId xmlns:a16="http://schemas.microsoft.com/office/drawing/2014/main" val="20023"/>
                    </a:ext>
                  </a:extLst>
                </a:gridCol>
                <a:gridCol w="270884">
                  <a:extLst>
                    <a:ext uri="{9D8B030D-6E8A-4147-A177-3AD203B41FA5}">
                      <a16:colId xmlns:a16="http://schemas.microsoft.com/office/drawing/2014/main" val="20024"/>
                    </a:ext>
                  </a:extLst>
                </a:gridCol>
                <a:gridCol w="270884">
                  <a:extLst>
                    <a:ext uri="{9D8B030D-6E8A-4147-A177-3AD203B41FA5}">
                      <a16:colId xmlns:a16="http://schemas.microsoft.com/office/drawing/2014/main" val="20025"/>
                    </a:ext>
                  </a:extLst>
                </a:gridCol>
                <a:gridCol w="270884">
                  <a:extLst>
                    <a:ext uri="{9D8B030D-6E8A-4147-A177-3AD203B41FA5}">
                      <a16:colId xmlns:a16="http://schemas.microsoft.com/office/drawing/2014/main" val="20026"/>
                    </a:ext>
                  </a:extLst>
                </a:gridCol>
                <a:gridCol w="270884">
                  <a:extLst>
                    <a:ext uri="{9D8B030D-6E8A-4147-A177-3AD203B41FA5}">
                      <a16:colId xmlns:a16="http://schemas.microsoft.com/office/drawing/2014/main" val="20027"/>
                    </a:ext>
                  </a:extLst>
                </a:gridCol>
                <a:gridCol w="270884">
                  <a:extLst>
                    <a:ext uri="{9D8B030D-6E8A-4147-A177-3AD203B41FA5}">
                      <a16:colId xmlns:a16="http://schemas.microsoft.com/office/drawing/2014/main" val="20028"/>
                    </a:ext>
                  </a:extLst>
                </a:gridCol>
                <a:gridCol w="270884">
                  <a:extLst>
                    <a:ext uri="{9D8B030D-6E8A-4147-A177-3AD203B41FA5}">
                      <a16:colId xmlns:a16="http://schemas.microsoft.com/office/drawing/2014/main" val="20029"/>
                    </a:ext>
                  </a:extLst>
                </a:gridCol>
                <a:gridCol w="270884">
                  <a:extLst>
                    <a:ext uri="{9D8B030D-6E8A-4147-A177-3AD203B41FA5}">
                      <a16:colId xmlns:a16="http://schemas.microsoft.com/office/drawing/2014/main" val="20030"/>
                    </a:ext>
                  </a:extLst>
                </a:gridCol>
                <a:gridCol w="270884">
                  <a:extLst>
                    <a:ext uri="{9D8B030D-6E8A-4147-A177-3AD203B41FA5}">
                      <a16:colId xmlns:a16="http://schemas.microsoft.com/office/drawing/2014/main" val="20031"/>
                    </a:ext>
                  </a:extLst>
                </a:gridCol>
              </a:tblGrid>
              <a:tr h="365760">
                <a:tc>
                  <a:txBody>
                    <a:bodyPr/>
                    <a:lstStyle/>
                    <a:p>
                      <a:pPr algn="l"/>
                      <a:r>
                        <a:rPr lang="en-US" sz="1600" dirty="0">
                          <a:solidFill>
                            <a:srgbClr val="FFFFFF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2021</a:t>
                      </a:r>
                    </a:p>
                  </a:txBody>
                  <a:tcPr anchor="ctr">
                    <a:lnL>
                      <a:noFill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4D1F">
                        <a:alpha val="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i="0" dirty="0">
                          <a:solidFill>
                            <a:srgbClr val="FFFFFF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1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4D1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i="0" dirty="0">
                          <a:solidFill>
                            <a:srgbClr val="FFFFFF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2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4D1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i="0" dirty="0">
                          <a:solidFill>
                            <a:srgbClr val="FFFFFF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3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4D1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i="0" dirty="0">
                          <a:solidFill>
                            <a:srgbClr val="FFFFFF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4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4D1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i="0" dirty="0">
                          <a:solidFill>
                            <a:srgbClr val="FFFFFF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5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4D1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i="0" dirty="0">
                          <a:solidFill>
                            <a:srgbClr val="FFFFFF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6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4D1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i="0" dirty="0">
                          <a:solidFill>
                            <a:srgbClr val="FFFFFF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7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4D1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i="0" dirty="0">
                          <a:solidFill>
                            <a:srgbClr val="FFFFFF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8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4D1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i="0" dirty="0">
                          <a:solidFill>
                            <a:srgbClr val="FFFFFF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9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4D1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i="0" dirty="0">
                          <a:solidFill>
                            <a:srgbClr val="FFFFFF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10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4D1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i="0" dirty="0">
                          <a:solidFill>
                            <a:srgbClr val="FFFFFF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11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4D1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i="0" dirty="0">
                          <a:solidFill>
                            <a:srgbClr val="FFFFFF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12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4D1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i="0" dirty="0">
                          <a:solidFill>
                            <a:srgbClr val="FFFFFF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13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4D1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i="0" dirty="0">
                          <a:solidFill>
                            <a:srgbClr val="FFFFFF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14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4D1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i="0" dirty="0">
                          <a:solidFill>
                            <a:srgbClr val="FFFFFF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15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4D1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i="0" dirty="0">
                          <a:solidFill>
                            <a:srgbClr val="FFFFFF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16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4D1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i="0" dirty="0">
                          <a:solidFill>
                            <a:srgbClr val="FFFFFF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17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4D1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i="0" dirty="0">
                          <a:solidFill>
                            <a:srgbClr val="FFFFFF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18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4D1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i="0" dirty="0">
                          <a:solidFill>
                            <a:srgbClr val="FFFFFF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19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4D1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i="0" dirty="0">
                          <a:solidFill>
                            <a:srgbClr val="FFFFFF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20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4D1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i="0" dirty="0">
                          <a:solidFill>
                            <a:srgbClr val="FFFFFF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21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4D1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i="0" dirty="0">
                          <a:solidFill>
                            <a:srgbClr val="FFFFFF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22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4D1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i="0" dirty="0">
                          <a:solidFill>
                            <a:srgbClr val="FFFFFF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23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4D1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i="0" dirty="0">
                          <a:solidFill>
                            <a:srgbClr val="FFFFFF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24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4D1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i="0" dirty="0">
                          <a:solidFill>
                            <a:srgbClr val="FFFFFF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25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4D1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i="0" dirty="0">
                          <a:solidFill>
                            <a:srgbClr val="FFFFFF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26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4D1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i="0" dirty="0">
                          <a:solidFill>
                            <a:srgbClr val="FFFFFF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27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4D1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i="0" dirty="0">
                          <a:solidFill>
                            <a:srgbClr val="FFFFFF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28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4D1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i="0" dirty="0">
                          <a:solidFill>
                            <a:srgbClr val="FFFFFF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29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4D1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i="0" dirty="0">
                          <a:solidFill>
                            <a:srgbClr val="FFFFFF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30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4D1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i="0" dirty="0">
                          <a:solidFill>
                            <a:srgbClr val="FFFFFF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31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4D1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56529">
                <a:tc>
                  <a:txBody>
                    <a:bodyPr/>
                    <a:lstStyle/>
                    <a:p>
                      <a:pPr algn="l"/>
                      <a:r>
                        <a:rPr lang="en-US" sz="1400" dirty="0">
                          <a:solidFill>
                            <a:schemeClr val="bg1"/>
                          </a:solidFill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January</a:t>
                      </a:r>
                    </a:p>
                  </a:txBody>
                  <a:tcPr anchor="ctr">
                    <a:lnL>
                      <a:noFill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56529">
                <a:tc>
                  <a:txBody>
                    <a:bodyPr/>
                    <a:lstStyle/>
                    <a:p>
                      <a:pPr algn="l"/>
                      <a:r>
                        <a:rPr lang="en-US" sz="1400" dirty="0">
                          <a:solidFill>
                            <a:schemeClr val="bg1"/>
                          </a:solidFill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February</a:t>
                      </a:r>
                    </a:p>
                  </a:txBody>
                  <a:tcPr anchor="ctr">
                    <a:lnL>
                      <a:noFill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24254">
                <a:tc>
                  <a:txBody>
                    <a:bodyPr/>
                    <a:lstStyle/>
                    <a:p>
                      <a:pPr algn="l"/>
                      <a:r>
                        <a:rPr lang="en-US" sz="1400" dirty="0">
                          <a:solidFill>
                            <a:schemeClr val="bg1"/>
                          </a:solidFill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March</a:t>
                      </a:r>
                    </a:p>
                  </a:txBody>
                  <a:tcPr anchor="ctr">
                    <a:lnL>
                      <a:noFill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95E7B">
                        <a:alpha val="50000"/>
                      </a:srgbClr>
                    </a:solidFill>
                  </a:tcPr>
                </a:tc>
                <a:tc gridSpan="31">
                  <a:txBody>
                    <a:bodyPr/>
                    <a:lstStyle/>
                    <a:p>
                      <a:pPr algn="ctr"/>
                      <a:r>
                        <a:rPr lang="en-US" sz="1400" i="1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Lorem ipsum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200" dirty="0">
                        <a:solidFill>
                          <a:schemeClr val="bg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200" dirty="0">
                        <a:solidFill>
                          <a:schemeClr val="bg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200" dirty="0">
                        <a:solidFill>
                          <a:schemeClr val="bg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200" dirty="0">
                        <a:solidFill>
                          <a:schemeClr val="bg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200" dirty="0">
                        <a:solidFill>
                          <a:schemeClr val="bg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200" dirty="0">
                        <a:solidFill>
                          <a:schemeClr val="bg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200" dirty="0">
                        <a:solidFill>
                          <a:schemeClr val="bg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200" dirty="0">
                        <a:solidFill>
                          <a:schemeClr val="bg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200" dirty="0">
                        <a:solidFill>
                          <a:schemeClr val="bg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200" dirty="0">
                        <a:solidFill>
                          <a:schemeClr val="bg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200" dirty="0">
                        <a:solidFill>
                          <a:schemeClr val="bg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200" dirty="0">
                        <a:solidFill>
                          <a:schemeClr val="bg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200" dirty="0">
                        <a:solidFill>
                          <a:schemeClr val="bg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200" dirty="0">
                        <a:solidFill>
                          <a:schemeClr val="bg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200" dirty="0">
                        <a:solidFill>
                          <a:schemeClr val="bg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200" dirty="0">
                        <a:solidFill>
                          <a:schemeClr val="bg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200" dirty="0">
                        <a:solidFill>
                          <a:schemeClr val="bg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200" dirty="0">
                        <a:solidFill>
                          <a:schemeClr val="bg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200" dirty="0">
                        <a:solidFill>
                          <a:schemeClr val="bg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200" dirty="0">
                        <a:solidFill>
                          <a:schemeClr val="bg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200" dirty="0">
                        <a:solidFill>
                          <a:schemeClr val="bg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200" dirty="0">
                        <a:solidFill>
                          <a:schemeClr val="bg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200" dirty="0">
                        <a:solidFill>
                          <a:schemeClr val="bg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200" dirty="0">
                        <a:solidFill>
                          <a:schemeClr val="bg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200" dirty="0">
                        <a:solidFill>
                          <a:schemeClr val="bg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200" dirty="0">
                        <a:solidFill>
                          <a:schemeClr val="bg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200" dirty="0">
                        <a:solidFill>
                          <a:schemeClr val="bg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200" dirty="0">
                        <a:solidFill>
                          <a:schemeClr val="bg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200" dirty="0">
                        <a:solidFill>
                          <a:schemeClr val="bg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200" dirty="0">
                        <a:solidFill>
                          <a:schemeClr val="bg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56529">
                <a:tc>
                  <a:txBody>
                    <a:bodyPr/>
                    <a:lstStyle/>
                    <a:p>
                      <a:pPr algn="l"/>
                      <a:r>
                        <a:rPr lang="en-US" sz="1400" dirty="0">
                          <a:solidFill>
                            <a:schemeClr val="bg1"/>
                          </a:solidFill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April</a:t>
                      </a:r>
                    </a:p>
                  </a:txBody>
                  <a:tcPr anchor="ctr">
                    <a:lnL>
                      <a:noFill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56529">
                <a:tc>
                  <a:txBody>
                    <a:bodyPr/>
                    <a:lstStyle/>
                    <a:p>
                      <a:pPr algn="l"/>
                      <a:r>
                        <a:rPr lang="en-US" sz="1400" dirty="0">
                          <a:solidFill>
                            <a:schemeClr val="bg1"/>
                          </a:solidFill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May</a:t>
                      </a:r>
                    </a:p>
                  </a:txBody>
                  <a:tcPr anchor="ctr">
                    <a:lnL>
                      <a:noFill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56529">
                <a:tc>
                  <a:txBody>
                    <a:bodyPr/>
                    <a:lstStyle/>
                    <a:p>
                      <a:pPr algn="l"/>
                      <a:r>
                        <a:rPr lang="en-US" sz="1400" dirty="0">
                          <a:solidFill>
                            <a:schemeClr val="bg1"/>
                          </a:solidFill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June</a:t>
                      </a:r>
                    </a:p>
                  </a:txBody>
                  <a:tcPr anchor="ctr">
                    <a:lnL>
                      <a:noFill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56529">
                <a:tc>
                  <a:txBody>
                    <a:bodyPr/>
                    <a:lstStyle/>
                    <a:p>
                      <a:pPr algn="l"/>
                      <a:r>
                        <a:rPr lang="en-US" sz="1400" dirty="0">
                          <a:solidFill>
                            <a:schemeClr val="bg1"/>
                          </a:solidFill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July</a:t>
                      </a:r>
                    </a:p>
                  </a:txBody>
                  <a:tcPr anchor="ctr">
                    <a:lnL>
                      <a:noFill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95E7B">
                        <a:alpha val="50000"/>
                      </a:srgbClr>
                    </a:solidFill>
                  </a:tcPr>
                </a:tc>
                <a:tc gridSpan="3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i="1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Lorem ipsum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56529">
                <a:tc>
                  <a:txBody>
                    <a:bodyPr/>
                    <a:lstStyle/>
                    <a:p>
                      <a:pPr algn="l"/>
                      <a:r>
                        <a:rPr lang="en-US" sz="1400" dirty="0">
                          <a:solidFill>
                            <a:schemeClr val="bg1"/>
                          </a:solidFill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August</a:t>
                      </a:r>
                    </a:p>
                  </a:txBody>
                  <a:tcPr anchor="ctr">
                    <a:lnL>
                      <a:noFill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56529">
                <a:tc>
                  <a:txBody>
                    <a:bodyPr/>
                    <a:lstStyle/>
                    <a:p>
                      <a:pPr algn="l"/>
                      <a:r>
                        <a:rPr lang="en-US" sz="1400" dirty="0">
                          <a:solidFill>
                            <a:schemeClr val="bg1"/>
                          </a:solidFill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September</a:t>
                      </a:r>
                    </a:p>
                  </a:txBody>
                  <a:tcPr anchor="ctr">
                    <a:lnL>
                      <a:noFill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356529">
                <a:tc>
                  <a:txBody>
                    <a:bodyPr/>
                    <a:lstStyle/>
                    <a:p>
                      <a:pPr algn="l"/>
                      <a:r>
                        <a:rPr lang="en-US" sz="1400" dirty="0">
                          <a:solidFill>
                            <a:schemeClr val="bg1"/>
                          </a:solidFill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October</a:t>
                      </a:r>
                    </a:p>
                  </a:txBody>
                  <a:tcPr anchor="ctr">
                    <a:lnL>
                      <a:noFill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356529">
                <a:tc>
                  <a:txBody>
                    <a:bodyPr/>
                    <a:lstStyle/>
                    <a:p>
                      <a:pPr algn="l"/>
                      <a:r>
                        <a:rPr lang="en-US" sz="1400" dirty="0">
                          <a:solidFill>
                            <a:schemeClr val="bg1"/>
                          </a:solidFill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November</a:t>
                      </a:r>
                    </a:p>
                  </a:txBody>
                  <a:tcPr anchor="ctr">
                    <a:lnL>
                      <a:noFill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356529">
                <a:tc>
                  <a:txBody>
                    <a:bodyPr/>
                    <a:lstStyle/>
                    <a:p>
                      <a:pPr algn="l"/>
                      <a:r>
                        <a:rPr lang="en-US" sz="1400" dirty="0">
                          <a:solidFill>
                            <a:schemeClr val="bg1"/>
                          </a:solidFill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December</a:t>
                      </a:r>
                    </a:p>
                  </a:txBody>
                  <a:tcPr anchor="ctr">
                    <a:lnL>
                      <a:noFill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95E7B">
                        <a:alpha val="50000"/>
                      </a:srgbClr>
                    </a:solidFill>
                  </a:tcPr>
                </a:tc>
                <a:tc gridSpan="3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i="1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Lorem ipsum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</a:tbl>
          </a:graphicData>
        </a:graphic>
      </p:graphicFrame>
      <p:sp>
        <p:nvSpPr>
          <p:cNvPr id="23" name="Slide Number Placeholder 22">
            <a:extLst>
              <a:ext uri="{FF2B5EF4-FFF2-40B4-BE49-F238E27FC236}">
                <a16:creationId xmlns:a16="http://schemas.microsoft.com/office/drawing/2014/main" id="{0219B63E-89F8-4091-A808-A49064714B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13A2AF-9881-47E7-AE38-D70ECBD2298B}" type="slidenum">
              <a:rPr lang="en-US" smtClean="0"/>
              <a:t>12</a:t>
            </a:fld>
            <a:endParaRPr lang="en-US"/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0F30EA05-4AA4-4E7E-BD22-C79D0FA6D026}"/>
              </a:ext>
            </a:extLst>
          </p:cNvPr>
          <p:cNvSpPr/>
          <p:nvPr/>
        </p:nvSpPr>
        <p:spPr>
          <a:xfrm>
            <a:off x="4389436" y="1904205"/>
            <a:ext cx="163514" cy="163514"/>
          </a:xfrm>
          <a:prstGeom prst="ellipse">
            <a:avLst/>
          </a:prstGeom>
          <a:solidFill>
            <a:schemeClr val="bg1"/>
          </a:solidFill>
          <a:ln w="47625">
            <a:solidFill>
              <a:srgbClr val="A6B72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E73C5BD4-CD7E-44CA-AF1B-EE5D8D5D53A0}"/>
              </a:ext>
            </a:extLst>
          </p:cNvPr>
          <p:cNvSpPr/>
          <p:nvPr/>
        </p:nvSpPr>
        <p:spPr>
          <a:xfrm>
            <a:off x="603963" y="6209196"/>
            <a:ext cx="163514" cy="163514"/>
          </a:xfrm>
          <a:prstGeom prst="ellipse">
            <a:avLst/>
          </a:prstGeom>
          <a:solidFill>
            <a:schemeClr val="bg1"/>
          </a:solidFill>
          <a:ln w="47625">
            <a:solidFill>
              <a:srgbClr val="A6B72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96D3C1BD-F707-4775-BF6C-48CE303E0BF2}"/>
              </a:ext>
            </a:extLst>
          </p:cNvPr>
          <p:cNvSpPr txBox="1"/>
          <p:nvPr/>
        </p:nvSpPr>
        <p:spPr>
          <a:xfrm>
            <a:off x="819865" y="6137065"/>
            <a:ext cx="1239152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r>
              <a:rPr lang="en-ID" sz="1400" i="1" dirty="0">
                <a:latin typeface="Segoe UI Light" panose="020B0502040204020203" pitchFamily="34" charset="0"/>
                <a:cs typeface="Segoe UI Light" panose="020B0502040204020203" pitchFamily="34" charset="0"/>
              </a:rPr>
              <a:t>Lorem ipsum</a:t>
            </a:r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5C8C27C2-BAFF-45CC-9568-C558E8A0EA2A}"/>
              </a:ext>
            </a:extLst>
          </p:cNvPr>
          <p:cNvSpPr/>
          <p:nvPr/>
        </p:nvSpPr>
        <p:spPr>
          <a:xfrm>
            <a:off x="2111405" y="6209196"/>
            <a:ext cx="163514" cy="163514"/>
          </a:xfrm>
          <a:prstGeom prst="ellipse">
            <a:avLst/>
          </a:prstGeom>
          <a:solidFill>
            <a:schemeClr val="bg1"/>
          </a:solidFill>
          <a:ln w="47625">
            <a:solidFill>
              <a:srgbClr val="6B2B9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33AB24A9-EE8A-4D03-B755-40B2CC4877E0}"/>
              </a:ext>
            </a:extLst>
          </p:cNvPr>
          <p:cNvSpPr txBox="1"/>
          <p:nvPr/>
        </p:nvSpPr>
        <p:spPr>
          <a:xfrm>
            <a:off x="2327307" y="6137065"/>
            <a:ext cx="1239152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r>
              <a:rPr lang="en-ID" sz="1400" i="1" dirty="0">
                <a:latin typeface="Segoe UI Light" panose="020B0502040204020203" pitchFamily="34" charset="0"/>
                <a:cs typeface="Segoe UI Light" panose="020B0502040204020203" pitchFamily="34" charset="0"/>
              </a:rPr>
              <a:t>Lorem ipsum</a:t>
            </a: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B1AF9589-8329-4F4D-B5EA-49E287C4E7CA}"/>
              </a:ext>
            </a:extLst>
          </p:cNvPr>
          <p:cNvSpPr/>
          <p:nvPr/>
        </p:nvSpPr>
        <p:spPr>
          <a:xfrm>
            <a:off x="3618847" y="6209196"/>
            <a:ext cx="163514" cy="163514"/>
          </a:xfrm>
          <a:prstGeom prst="ellipse">
            <a:avLst/>
          </a:prstGeom>
          <a:solidFill>
            <a:schemeClr val="bg1"/>
          </a:solidFill>
          <a:ln w="47625">
            <a:solidFill>
              <a:srgbClr val="DE4D1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68EB0C3D-979E-4A94-9F8D-A7B807E5B1BD}"/>
              </a:ext>
            </a:extLst>
          </p:cNvPr>
          <p:cNvSpPr txBox="1"/>
          <p:nvPr/>
        </p:nvSpPr>
        <p:spPr>
          <a:xfrm>
            <a:off x="3834749" y="6137065"/>
            <a:ext cx="1239152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r>
              <a:rPr lang="en-ID" sz="1400" i="1" dirty="0">
                <a:latin typeface="Segoe UI Light" panose="020B0502040204020203" pitchFamily="34" charset="0"/>
                <a:cs typeface="Segoe UI Light" panose="020B0502040204020203" pitchFamily="34" charset="0"/>
              </a:rPr>
              <a:t>Lorem ipsum</a:t>
            </a:r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91F0F1EE-21FA-4082-9FEA-2B29413DB9E1}"/>
              </a:ext>
            </a:extLst>
          </p:cNvPr>
          <p:cNvSpPr/>
          <p:nvPr/>
        </p:nvSpPr>
        <p:spPr>
          <a:xfrm>
            <a:off x="5174588" y="6209196"/>
            <a:ext cx="163514" cy="163514"/>
          </a:xfrm>
          <a:prstGeom prst="ellipse">
            <a:avLst/>
          </a:prstGeom>
          <a:solidFill>
            <a:schemeClr val="bg1"/>
          </a:solidFill>
          <a:ln w="47625">
            <a:solidFill>
              <a:srgbClr val="3B87B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4B15961A-FD74-414B-8FAC-00626171B210}"/>
              </a:ext>
            </a:extLst>
          </p:cNvPr>
          <p:cNvSpPr txBox="1"/>
          <p:nvPr/>
        </p:nvSpPr>
        <p:spPr>
          <a:xfrm>
            <a:off x="5390490" y="6137065"/>
            <a:ext cx="1239152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r>
              <a:rPr lang="en-ID" sz="1400" i="1" dirty="0">
                <a:latin typeface="Segoe UI Light" panose="020B0502040204020203" pitchFamily="34" charset="0"/>
                <a:cs typeface="Segoe UI Light" panose="020B0502040204020203" pitchFamily="34" charset="0"/>
              </a:rPr>
              <a:t>Lorem ipsum</a:t>
            </a:r>
          </a:p>
        </p:txBody>
      </p:sp>
      <p:sp>
        <p:nvSpPr>
          <p:cNvPr id="38" name="Oval 37">
            <a:extLst>
              <a:ext uri="{FF2B5EF4-FFF2-40B4-BE49-F238E27FC236}">
                <a16:creationId xmlns:a16="http://schemas.microsoft.com/office/drawing/2014/main" id="{8975E187-509A-4DBD-9BBF-2ED6108FD782}"/>
              </a:ext>
            </a:extLst>
          </p:cNvPr>
          <p:cNvSpPr/>
          <p:nvPr/>
        </p:nvSpPr>
        <p:spPr>
          <a:xfrm>
            <a:off x="4933558" y="3286123"/>
            <a:ext cx="163514" cy="163514"/>
          </a:xfrm>
          <a:prstGeom prst="ellipse">
            <a:avLst/>
          </a:prstGeom>
          <a:solidFill>
            <a:schemeClr val="bg1"/>
          </a:solidFill>
          <a:ln w="47625">
            <a:solidFill>
              <a:srgbClr val="6B2B9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Oval 38">
            <a:extLst>
              <a:ext uri="{FF2B5EF4-FFF2-40B4-BE49-F238E27FC236}">
                <a16:creationId xmlns:a16="http://schemas.microsoft.com/office/drawing/2014/main" id="{6C08D264-A768-4119-A180-1B302EDC38AB}"/>
              </a:ext>
            </a:extLst>
          </p:cNvPr>
          <p:cNvSpPr/>
          <p:nvPr/>
        </p:nvSpPr>
        <p:spPr>
          <a:xfrm>
            <a:off x="7638657" y="2947986"/>
            <a:ext cx="163514" cy="163514"/>
          </a:xfrm>
          <a:prstGeom prst="ellipse">
            <a:avLst/>
          </a:prstGeom>
          <a:solidFill>
            <a:schemeClr val="bg1"/>
          </a:solidFill>
          <a:ln w="47625">
            <a:solidFill>
              <a:srgbClr val="6B2B9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Oval 39">
            <a:extLst>
              <a:ext uri="{FF2B5EF4-FFF2-40B4-BE49-F238E27FC236}">
                <a16:creationId xmlns:a16="http://schemas.microsoft.com/office/drawing/2014/main" id="{7B8E0ACC-0C3A-4FBF-918A-7AC875A764BE}"/>
              </a:ext>
            </a:extLst>
          </p:cNvPr>
          <p:cNvSpPr/>
          <p:nvPr/>
        </p:nvSpPr>
        <p:spPr>
          <a:xfrm>
            <a:off x="8717888" y="4729161"/>
            <a:ext cx="163514" cy="163514"/>
          </a:xfrm>
          <a:prstGeom prst="ellipse">
            <a:avLst/>
          </a:prstGeom>
          <a:solidFill>
            <a:schemeClr val="bg1"/>
          </a:solidFill>
          <a:ln w="47625">
            <a:solidFill>
              <a:srgbClr val="3B87B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Oval 40">
            <a:extLst>
              <a:ext uri="{FF2B5EF4-FFF2-40B4-BE49-F238E27FC236}">
                <a16:creationId xmlns:a16="http://schemas.microsoft.com/office/drawing/2014/main" id="{097D913F-82E8-4620-9A92-8C72D657C44B}"/>
              </a:ext>
            </a:extLst>
          </p:cNvPr>
          <p:cNvSpPr/>
          <p:nvPr/>
        </p:nvSpPr>
        <p:spPr>
          <a:xfrm>
            <a:off x="6010066" y="5062536"/>
            <a:ext cx="163514" cy="163514"/>
          </a:xfrm>
          <a:prstGeom prst="ellipse">
            <a:avLst/>
          </a:prstGeom>
          <a:solidFill>
            <a:schemeClr val="bg1"/>
          </a:solidFill>
          <a:ln w="47625">
            <a:solidFill>
              <a:srgbClr val="DE4D1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Oval 41">
            <a:extLst>
              <a:ext uri="{FF2B5EF4-FFF2-40B4-BE49-F238E27FC236}">
                <a16:creationId xmlns:a16="http://schemas.microsoft.com/office/drawing/2014/main" id="{26B7F147-E1A4-475F-9D0D-9A121E3BFAE0}"/>
              </a:ext>
            </a:extLst>
          </p:cNvPr>
          <p:cNvSpPr/>
          <p:nvPr/>
        </p:nvSpPr>
        <p:spPr>
          <a:xfrm>
            <a:off x="11163348" y="3643819"/>
            <a:ext cx="163514" cy="163514"/>
          </a:xfrm>
          <a:prstGeom prst="ellipse">
            <a:avLst/>
          </a:prstGeom>
          <a:solidFill>
            <a:schemeClr val="bg1"/>
          </a:solidFill>
          <a:ln w="47625">
            <a:solidFill>
              <a:srgbClr val="A6B72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3" name="Oval 42">
            <a:extLst>
              <a:ext uri="{FF2B5EF4-FFF2-40B4-BE49-F238E27FC236}">
                <a16:creationId xmlns:a16="http://schemas.microsoft.com/office/drawing/2014/main" id="{687C53D9-96DC-4BF9-9B08-D764F1E62C33}"/>
              </a:ext>
            </a:extLst>
          </p:cNvPr>
          <p:cNvSpPr/>
          <p:nvPr/>
        </p:nvSpPr>
        <p:spPr>
          <a:xfrm>
            <a:off x="10632413" y="5416255"/>
            <a:ext cx="163514" cy="163514"/>
          </a:xfrm>
          <a:prstGeom prst="ellipse">
            <a:avLst/>
          </a:prstGeom>
          <a:solidFill>
            <a:schemeClr val="bg1"/>
          </a:solidFill>
          <a:ln w="47625">
            <a:solidFill>
              <a:srgbClr val="3B87B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Oval 43">
            <a:extLst>
              <a:ext uri="{FF2B5EF4-FFF2-40B4-BE49-F238E27FC236}">
                <a16:creationId xmlns:a16="http://schemas.microsoft.com/office/drawing/2014/main" id="{6E4CA365-B37D-4A24-BE47-A213D57B131A}"/>
              </a:ext>
            </a:extLst>
          </p:cNvPr>
          <p:cNvSpPr/>
          <p:nvPr/>
        </p:nvSpPr>
        <p:spPr>
          <a:xfrm>
            <a:off x="10067716" y="2224086"/>
            <a:ext cx="163514" cy="163514"/>
          </a:xfrm>
          <a:prstGeom prst="ellipse">
            <a:avLst/>
          </a:prstGeom>
          <a:solidFill>
            <a:schemeClr val="bg1"/>
          </a:solidFill>
          <a:ln w="47625">
            <a:solidFill>
              <a:srgbClr val="DE4D1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616826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" name="Picture 30" descr="A picture containing text, person, indoor, computer&#10;&#10;Description automatically generated">
            <a:extLst>
              <a:ext uri="{FF2B5EF4-FFF2-40B4-BE49-F238E27FC236}">
                <a16:creationId xmlns:a16="http://schemas.microsoft.com/office/drawing/2014/main" id="{A38875D0-C728-4DAA-BAC2-90E990735091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562225" y="1343027"/>
            <a:ext cx="2895602" cy="1866271"/>
          </a:xfrm>
          <a:custGeom>
            <a:avLst/>
            <a:gdLst>
              <a:gd name="connsiteX0" fmla="*/ 0 w 2895602"/>
              <a:gd name="connsiteY0" fmla="*/ 0 h 1866271"/>
              <a:gd name="connsiteX1" fmla="*/ 2895602 w 2895602"/>
              <a:gd name="connsiteY1" fmla="*/ 0 h 1866271"/>
              <a:gd name="connsiteX2" fmla="*/ 2895602 w 2895602"/>
              <a:gd name="connsiteY2" fmla="*/ 1539228 h 1866271"/>
              <a:gd name="connsiteX3" fmla="*/ 352202 w 2895602"/>
              <a:gd name="connsiteY3" fmla="*/ 1539228 h 1866271"/>
              <a:gd name="connsiteX4" fmla="*/ 1 w 2895602"/>
              <a:gd name="connsiteY4" fmla="*/ 1866271 h 1866271"/>
              <a:gd name="connsiteX5" fmla="*/ 1 w 2895602"/>
              <a:gd name="connsiteY5" fmla="*/ 1539228 h 1866271"/>
              <a:gd name="connsiteX6" fmla="*/ 0 w 2895602"/>
              <a:gd name="connsiteY6" fmla="*/ 1539228 h 18662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895602" h="1866271">
                <a:moveTo>
                  <a:pt x="0" y="0"/>
                </a:moveTo>
                <a:lnTo>
                  <a:pt x="2895602" y="0"/>
                </a:lnTo>
                <a:lnTo>
                  <a:pt x="2895602" y="1539228"/>
                </a:lnTo>
                <a:lnTo>
                  <a:pt x="352202" y="1539228"/>
                </a:lnTo>
                <a:lnTo>
                  <a:pt x="1" y="1866271"/>
                </a:lnTo>
                <a:lnTo>
                  <a:pt x="1" y="1539228"/>
                </a:lnTo>
                <a:lnTo>
                  <a:pt x="0" y="1539228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7819344-FD35-44CA-85CA-C1FF8774C6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D" dirty="0"/>
              <a:t>Multiple project timelines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597FAB9A-F088-4078-9881-D109EE8EC9C7}"/>
              </a:ext>
            </a:extLst>
          </p:cNvPr>
          <p:cNvSpPr/>
          <p:nvPr/>
        </p:nvSpPr>
        <p:spPr>
          <a:xfrm>
            <a:off x="0" y="3614565"/>
            <a:ext cx="12192000" cy="143223"/>
          </a:xfrm>
          <a:prstGeom prst="rect">
            <a:avLst/>
          </a:prstGeom>
          <a:gradFill>
            <a:gsLst>
              <a:gs pos="0">
                <a:srgbClr val="295E7B">
                  <a:lumMod val="98000"/>
                </a:srgbClr>
              </a:gs>
              <a:gs pos="100000">
                <a:srgbClr val="3B87B1"/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BE50C25-F392-40E5-9CAE-25296E71AB4E}"/>
              </a:ext>
            </a:extLst>
          </p:cNvPr>
          <p:cNvSpPr txBox="1"/>
          <p:nvPr/>
        </p:nvSpPr>
        <p:spPr>
          <a:xfrm>
            <a:off x="571500" y="2923342"/>
            <a:ext cx="1364476" cy="707886"/>
          </a:xfrm>
          <a:prstGeom prst="rect">
            <a:avLst/>
          </a:prstGeom>
          <a:noFill/>
        </p:spPr>
        <p:txBody>
          <a:bodyPr wrap="none" anchor="ctr">
            <a:spAutoFit/>
          </a:bodyPr>
          <a:lstStyle/>
          <a:p>
            <a:r>
              <a:rPr lang="en-ID" sz="4000" b="1" dirty="0">
                <a:solidFill>
                  <a:srgbClr val="3B87B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2021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F57180A9-130A-470E-A1E4-3083C9415942}"/>
              </a:ext>
            </a:extLst>
          </p:cNvPr>
          <p:cNvSpPr/>
          <p:nvPr/>
        </p:nvSpPr>
        <p:spPr>
          <a:xfrm>
            <a:off x="2562224" y="3524251"/>
            <a:ext cx="323850" cy="323850"/>
          </a:xfrm>
          <a:prstGeom prst="ellipse">
            <a:avLst/>
          </a:prstGeom>
          <a:solidFill>
            <a:schemeClr val="bg1"/>
          </a:solidFill>
          <a:ln w="104775">
            <a:gradFill>
              <a:gsLst>
                <a:gs pos="0">
                  <a:srgbClr val="3B87B1"/>
                </a:gs>
                <a:gs pos="100000">
                  <a:srgbClr val="295E7B"/>
                </a:gs>
              </a:gsLst>
              <a:lin ang="5400000" scaled="1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B39F32AE-6773-4FB4-84BC-7DBAEC206B4C}"/>
              </a:ext>
            </a:extLst>
          </p:cNvPr>
          <p:cNvSpPr/>
          <p:nvPr/>
        </p:nvSpPr>
        <p:spPr>
          <a:xfrm>
            <a:off x="6751712" y="3524251"/>
            <a:ext cx="323850" cy="323850"/>
          </a:xfrm>
          <a:prstGeom prst="ellipse">
            <a:avLst/>
          </a:prstGeom>
          <a:solidFill>
            <a:schemeClr val="bg1"/>
          </a:solidFill>
          <a:ln w="104775">
            <a:solidFill>
              <a:srgbClr val="A6B72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grpSp>
        <p:nvGrpSpPr>
          <p:cNvPr id="40" name="Group 39">
            <a:extLst>
              <a:ext uri="{FF2B5EF4-FFF2-40B4-BE49-F238E27FC236}">
                <a16:creationId xmlns:a16="http://schemas.microsoft.com/office/drawing/2014/main" id="{8C8AEC5D-7923-4ABE-98C4-24904597D3F8}"/>
              </a:ext>
            </a:extLst>
          </p:cNvPr>
          <p:cNvGrpSpPr/>
          <p:nvPr/>
        </p:nvGrpSpPr>
        <p:grpSpPr>
          <a:xfrm>
            <a:off x="6751712" y="1343026"/>
            <a:ext cx="2895601" cy="1866272"/>
            <a:chOff x="6637412" y="1343025"/>
            <a:chExt cx="2895601" cy="1866272"/>
          </a:xfrm>
          <a:solidFill>
            <a:schemeClr val="bg1">
              <a:lumMod val="95000"/>
            </a:schemeClr>
          </a:solidFill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96FDF9CD-6931-4352-A2D0-739618240921}"/>
                </a:ext>
              </a:extLst>
            </p:cNvPr>
            <p:cNvSpPr/>
            <p:nvPr/>
          </p:nvSpPr>
          <p:spPr>
            <a:xfrm>
              <a:off x="6637412" y="1343025"/>
              <a:ext cx="2895601" cy="153922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/>
            </a:p>
          </p:txBody>
        </p:sp>
        <p:sp>
          <p:nvSpPr>
            <p:cNvPr id="12" name="Isosceles Triangle 11">
              <a:extLst>
                <a:ext uri="{FF2B5EF4-FFF2-40B4-BE49-F238E27FC236}">
                  <a16:creationId xmlns:a16="http://schemas.microsoft.com/office/drawing/2014/main" id="{848259A3-A82C-485E-BD35-DD5D0B3FD9CF}"/>
                </a:ext>
              </a:extLst>
            </p:cNvPr>
            <p:cNvSpPr/>
            <p:nvPr/>
          </p:nvSpPr>
          <p:spPr>
            <a:xfrm rot="5400000">
              <a:off x="6665895" y="2853772"/>
              <a:ext cx="327042" cy="384007"/>
            </a:xfrm>
            <a:prstGeom prst="triangle">
              <a:avLst>
                <a:gd name="adj" fmla="val 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/>
            </a:p>
          </p:txBody>
        </p:sp>
      </p:grpSp>
      <p:sp>
        <p:nvSpPr>
          <p:cNvPr id="13" name="Oval 12">
            <a:extLst>
              <a:ext uri="{FF2B5EF4-FFF2-40B4-BE49-F238E27FC236}">
                <a16:creationId xmlns:a16="http://schemas.microsoft.com/office/drawing/2014/main" id="{CB731407-876A-4BB3-9953-DF94D9E5A816}"/>
              </a:ext>
            </a:extLst>
          </p:cNvPr>
          <p:cNvSpPr/>
          <p:nvPr/>
        </p:nvSpPr>
        <p:spPr>
          <a:xfrm>
            <a:off x="4656968" y="3524251"/>
            <a:ext cx="323850" cy="323850"/>
          </a:xfrm>
          <a:prstGeom prst="ellipse">
            <a:avLst/>
          </a:prstGeom>
          <a:solidFill>
            <a:schemeClr val="bg1"/>
          </a:solidFill>
          <a:ln w="104775">
            <a:solidFill>
              <a:srgbClr val="DE4D1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grpSp>
        <p:nvGrpSpPr>
          <p:cNvPr id="38" name="Group 37">
            <a:extLst>
              <a:ext uri="{FF2B5EF4-FFF2-40B4-BE49-F238E27FC236}">
                <a16:creationId xmlns:a16="http://schemas.microsoft.com/office/drawing/2014/main" id="{9125D1AB-B840-4E5D-BD33-00A66852F5B1}"/>
              </a:ext>
            </a:extLst>
          </p:cNvPr>
          <p:cNvGrpSpPr/>
          <p:nvPr/>
        </p:nvGrpSpPr>
        <p:grpSpPr>
          <a:xfrm>
            <a:off x="4656968" y="4129332"/>
            <a:ext cx="2895601" cy="1909519"/>
            <a:chOff x="4542668" y="4129331"/>
            <a:chExt cx="2895601" cy="1909519"/>
          </a:xfrm>
          <a:solidFill>
            <a:schemeClr val="bg1">
              <a:lumMod val="95000"/>
            </a:schemeClr>
          </a:solidFill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051F6E85-2D7D-4E01-8C4F-D90743D53BA2}"/>
                </a:ext>
              </a:extLst>
            </p:cNvPr>
            <p:cNvSpPr/>
            <p:nvPr/>
          </p:nvSpPr>
          <p:spPr>
            <a:xfrm>
              <a:off x="4542668" y="4499622"/>
              <a:ext cx="2895601" cy="153922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/>
            </a:p>
          </p:txBody>
        </p:sp>
        <p:sp>
          <p:nvSpPr>
            <p:cNvPr id="16" name="Isosceles Triangle 15">
              <a:extLst>
                <a:ext uri="{FF2B5EF4-FFF2-40B4-BE49-F238E27FC236}">
                  <a16:creationId xmlns:a16="http://schemas.microsoft.com/office/drawing/2014/main" id="{9A501627-B69A-497B-8F57-C64AD1B778E3}"/>
                </a:ext>
              </a:extLst>
            </p:cNvPr>
            <p:cNvSpPr/>
            <p:nvPr/>
          </p:nvSpPr>
          <p:spPr>
            <a:xfrm>
              <a:off x="4542668" y="4129331"/>
              <a:ext cx="356578" cy="370292"/>
            </a:xfrm>
            <a:prstGeom prst="triangle">
              <a:avLst>
                <a:gd name="adj" fmla="val 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/>
            </a:p>
          </p:txBody>
        </p:sp>
      </p:grpSp>
      <p:sp>
        <p:nvSpPr>
          <p:cNvPr id="20" name="Oval 19">
            <a:extLst>
              <a:ext uri="{FF2B5EF4-FFF2-40B4-BE49-F238E27FC236}">
                <a16:creationId xmlns:a16="http://schemas.microsoft.com/office/drawing/2014/main" id="{23802CE8-5F02-4E61-B87A-1C7D39432C54}"/>
              </a:ext>
            </a:extLst>
          </p:cNvPr>
          <p:cNvSpPr/>
          <p:nvPr/>
        </p:nvSpPr>
        <p:spPr>
          <a:xfrm>
            <a:off x="8846456" y="3524251"/>
            <a:ext cx="323850" cy="323850"/>
          </a:xfrm>
          <a:prstGeom prst="ellipse">
            <a:avLst/>
          </a:prstGeom>
          <a:solidFill>
            <a:schemeClr val="bg1"/>
          </a:solidFill>
          <a:ln w="104775">
            <a:solidFill>
              <a:srgbClr val="6B2B9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grpSp>
        <p:nvGrpSpPr>
          <p:cNvPr id="39" name="Group 38">
            <a:extLst>
              <a:ext uri="{FF2B5EF4-FFF2-40B4-BE49-F238E27FC236}">
                <a16:creationId xmlns:a16="http://schemas.microsoft.com/office/drawing/2014/main" id="{9D2FA77E-DC44-471E-AA76-17B87070C4A3}"/>
              </a:ext>
            </a:extLst>
          </p:cNvPr>
          <p:cNvGrpSpPr/>
          <p:nvPr/>
        </p:nvGrpSpPr>
        <p:grpSpPr>
          <a:xfrm>
            <a:off x="8846456" y="4129332"/>
            <a:ext cx="2895601" cy="1909519"/>
            <a:chOff x="8732156" y="4129331"/>
            <a:chExt cx="2895601" cy="1909519"/>
          </a:xfrm>
          <a:solidFill>
            <a:schemeClr val="bg1">
              <a:lumMod val="95000"/>
            </a:schemeClr>
          </a:solidFill>
        </p:grpSpPr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95ADE434-7883-45E2-BCEE-8337B4B76BF6}"/>
                </a:ext>
              </a:extLst>
            </p:cNvPr>
            <p:cNvSpPr/>
            <p:nvPr/>
          </p:nvSpPr>
          <p:spPr>
            <a:xfrm>
              <a:off x="8732156" y="4499622"/>
              <a:ext cx="2895601" cy="153922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/>
            </a:p>
          </p:txBody>
        </p:sp>
        <p:sp>
          <p:nvSpPr>
            <p:cNvPr id="23" name="Isosceles Triangle 22">
              <a:extLst>
                <a:ext uri="{FF2B5EF4-FFF2-40B4-BE49-F238E27FC236}">
                  <a16:creationId xmlns:a16="http://schemas.microsoft.com/office/drawing/2014/main" id="{9253AAC3-8554-4FA4-8B81-91F86B614204}"/>
                </a:ext>
              </a:extLst>
            </p:cNvPr>
            <p:cNvSpPr/>
            <p:nvPr/>
          </p:nvSpPr>
          <p:spPr>
            <a:xfrm>
              <a:off x="8732156" y="4129331"/>
              <a:ext cx="356578" cy="370292"/>
            </a:xfrm>
            <a:prstGeom prst="triangle">
              <a:avLst>
                <a:gd name="adj" fmla="val 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/>
            </a:p>
          </p:txBody>
        </p:sp>
      </p:grpSp>
      <p:sp>
        <p:nvSpPr>
          <p:cNvPr id="30" name="Freeform: Shape 29">
            <a:extLst>
              <a:ext uri="{FF2B5EF4-FFF2-40B4-BE49-F238E27FC236}">
                <a16:creationId xmlns:a16="http://schemas.microsoft.com/office/drawing/2014/main" id="{09BEDB25-0EA0-451D-B1E8-E30DF211C460}"/>
              </a:ext>
            </a:extLst>
          </p:cNvPr>
          <p:cNvSpPr/>
          <p:nvPr/>
        </p:nvSpPr>
        <p:spPr>
          <a:xfrm rot="5400000">
            <a:off x="3076891" y="828363"/>
            <a:ext cx="1866271" cy="2895602"/>
          </a:xfrm>
          <a:custGeom>
            <a:avLst/>
            <a:gdLst>
              <a:gd name="connsiteX0" fmla="*/ 0 w 1866271"/>
              <a:gd name="connsiteY0" fmla="*/ 2895602 h 2895602"/>
              <a:gd name="connsiteX1" fmla="*/ 0 w 1866271"/>
              <a:gd name="connsiteY1" fmla="*/ 0 h 2895602"/>
              <a:gd name="connsiteX2" fmla="*/ 1539228 w 1866271"/>
              <a:gd name="connsiteY2" fmla="*/ 0 h 2895602"/>
              <a:gd name="connsiteX3" fmla="*/ 1539228 w 1866271"/>
              <a:gd name="connsiteY3" fmla="*/ 2543400 h 2895602"/>
              <a:gd name="connsiteX4" fmla="*/ 1866271 w 1866271"/>
              <a:gd name="connsiteY4" fmla="*/ 2895601 h 2895602"/>
              <a:gd name="connsiteX5" fmla="*/ 1539228 w 1866271"/>
              <a:gd name="connsiteY5" fmla="*/ 2895601 h 2895602"/>
              <a:gd name="connsiteX6" fmla="*/ 1539228 w 1866271"/>
              <a:gd name="connsiteY6" fmla="*/ 2895602 h 28956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866271" h="2895602">
                <a:moveTo>
                  <a:pt x="0" y="2895602"/>
                </a:moveTo>
                <a:lnTo>
                  <a:pt x="0" y="0"/>
                </a:lnTo>
                <a:lnTo>
                  <a:pt x="1539228" y="0"/>
                </a:lnTo>
                <a:lnTo>
                  <a:pt x="1539228" y="2543400"/>
                </a:lnTo>
                <a:lnTo>
                  <a:pt x="1866271" y="2895601"/>
                </a:lnTo>
                <a:lnTo>
                  <a:pt x="1539228" y="2895601"/>
                </a:lnTo>
                <a:lnTo>
                  <a:pt x="1539228" y="2895602"/>
                </a:lnTo>
                <a:close/>
              </a:path>
            </a:pathLst>
          </a:custGeom>
          <a:solidFill>
            <a:schemeClr val="tx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450AFEBE-B41F-4595-97C4-A0F695813749}"/>
              </a:ext>
            </a:extLst>
          </p:cNvPr>
          <p:cNvSpPr txBox="1"/>
          <p:nvPr/>
        </p:nvSpPr>
        <p:spPr>
          <a:xfrm>
            <a:off x="3154856" y="1755776"/>
            <a:ext cx="1710340" cy="707886"/>
          </a:xfrm>
          <a:prstGeom prst="rect">
            <a:avLst/>
          </a:prstGeom>
          <a:noFill/>
        </p:spPr>
        <p:txBody>
          <a:bodyPr wrap="none" anchor="ctr">
            <a:spAutoFit/>
          </a:bodyPr>
          <a:lstStyle/>
          <a:p>
            <a:pPr algn="ctr"/>
            <a:r>
              <a:rPr lang="en-ID" sz="40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orem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3C71F27F-F51E-4787-BCAE-1A28C1704E38}"/>
              </a:ext>
            </a:extLst>
          </p:cNvPr>
          <p:cNvSpPr txBox="1"/>
          <p:nvPr/>
        </p:nvSpPr>
        <p:spPr>
          <a:xfrm>
            <a:off x="571499" y="4737348"/>
            <a:ext cx="3571876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1200"/>
              </a:spcAft>
            </a:pPr>
            <a:r>
              <a:rPr lang="en-US" sz="2000" b="1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orem ipsum </a:t>
            </a:r>
          </a:p>
          <a:p>
            <a:pPr>
              <a:spcAft>
                <a:spcPts val="1200"/>
              </a:spcAft>
            </a:pPr>
            <a:r>
              <a:rPr lang="en-US" sz="1400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orem ipsum dolor sit </a:t>
            </a:r>
            <a:r>
              <a:rPr lang="en-US" sz="1400" dirty="0" err="1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met</a:t>
            </a:r>
            <a:r>
              <a:rPr lang="en-US" sz="1400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, </a:t>
            </a:r>
            <a:r>
              <a:rPr lang="en-US" sz="1400" dirty="0" err="1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onsectetur</a:t>
            </a:r>
            <a:r>
              <a:rPr lang="en-US" sz="1400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sz="1400" dirty="0" err="1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dipiscing</a:t>
            </a:r>
            <a:r>
              <a:rPr lang="en-US" sz="1400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sz="1400" dirty="0" err="1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lit</a:t>
            </a:r>
            <a:r>
              <a:rPr lang="en-US" sz="1400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, sed do </a:t>
            </a:r>
            <a:r>
              <a:rPr lang="en-US" sz="1400" dirty="0" err="1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iusmod</a:t>
            </a:r>
            <a:r>
              <a:rPr lang="en-US" sz="1400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sz="1400" dirty="0" err="1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tempor</a:t>
            </a:r>
            <a:r>
              <a:rPr lang="en-US" sz="1400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sz="1400" dirty="0" err="1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incididunt</a:t>
            </a:r>
            <a:r>
              <a:rPr lang="en-US" sz="1400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sz="1400" dirty="0" err="1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ut</a:t>
            </a:r>
            <a:r>
              <a:rPr lang="en-US" sz="1400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sz="1400" dirty="0" err="1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abore</a:t>
            </a:r>
            <a:r>
              <a:rPr lang="en-US" sz="1400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et dolore magna </a:t>
            </a:r>
            <a:r>
              <a:rPr lang="en-US" sz="1400" dirty="0" err="1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liqua</a:t>
            </a:r>
            <a:r>
              <a:rPr lang="en-US" sz="1400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. 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48AC1421-E57A-43F9-A36E-3A25539B5B4A}"/>
              </a:ext>
            </a:extLst>
          </p:cNvPr>
          <p:cNvSpPr txBox="1"/>
          <p:nvPr/>
        </p:nvSpPr>
        <p:spPr>
          <a:xfrm>
            <a:off x="4770512" y="4607517"/>
            <a:ext cx="2668514" cy="13388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en-US" sz="2000" b="1" dirty="0">
                <a:latin typeface="Segoe UI" panose="020B0502040204020203" pitchFamily="34" charset="0"/>
                <a:cs typeface="Segoe UI" panose="020B0502040204020203" pitchFamily="34" charset="0"/>
              </a:rPr>
              <a:t>01</a:t>
            </a:r>
          </a:p>
          <a:p>
            <a:pPr>
              <a:spcAft>
                <a:spcPts val="600"/>
              </a:spcAft>
            </a:pPr>
            <a:r>
              <a:rPr lang="en-US" sz="1400" dirty="0">
                <a:latin typeface="Segoe UI Light" panose="020B0502040204020203" pitchFamily="34" charset="0"/>
                <a:cs typeface="Segoe UI Light" panose="020B0502040204020203" pitchFamily="34" charset="0"/>
              </a:rPr>
              <a:t>Lorem ipsum dolor sit </a:t>
            </a:r>
            <a:r>
              <a:rPr lang="en-US" sz="14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amet</a:t>
            </a:r>
            <a:r>
              <a:rPr lang="en-US" sz="1400" dirty="0">
                <a:latin typeface="Segoe UI Light" panose="020B0502040204020203" pitchFamily="34" charset="0"/>
                <a:cs typeface="Segoe UI Light" panose="020B0502040204020203" pitchFamily="34" charset="0"/>
              </a:rPr>
              <a:t>, </a:t>
            </a:r>
            <a:r>
              <a:rPr lang="en-US" sz="14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consectetur</a:t>
            </a:r>
            <a:r>
              <a:rPr lang="en-US" sz="14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sz="14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adipiscing</a:t>
            </a:r>
            <a:r>
              <a:rPr lang="en-US" sz="14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sz="14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elit</a:t>
            </a:r>
            <a:r>
              <a:rPr lang="en-US" sz="1400" dirty="0">
                <a:latin typeface="Segoe UI Light" panose="020B0502040204020203" pitchFamily="34" charset="0"/>
                <a:cs typeface="Segoe UI Light" panose="020B0502040204020203" pitchFamily="34" charset="0"/>
              </a:rPr>
              <a:t>, sed do </a:t>
            </a:r>
            <a:r>
              <a:rPr lang="en-US" sz="14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eiusmod</a:t>
            </a:r>
            <a:r>
              <a:rPr lang="en-US" sz="14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sz="14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tempor</a:t>
            </a:r>
            <a:r>
              <a:rPr lang="en-US" sz="14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sz="14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incididunt</a:t>
            </a:r>
            <a:r>
              <a:rPr lang="en-US" sz="14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sz="14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ut</a:t>
            </a:r>
            <a:r>
              <a:rPr lang="en-US" sz="14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sz="14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labore</a:t>
            </a:r>
            <a:r>
              <a:rPr lang="en-US" sz="1400" dirty="0">
                <a:latin typeface="Segoe UI Light" panose="020B0502040204020203" pitchFamily="34" charset="0"/>
                <a:cs typeface="Segoe UI Light" panose="020B0502040204020203" pitchFamily="34" charset="0"/>
              </a:rPr>
              <a:t> et dolore magna </a:t>
            </a:r>
            <a:r>
              <a:rPr lang="en-US" sz="14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aliqua</a:t>
            </a:r>
            <a:r>
              <a:rPr lang="en-US" sz="1400" dirty="0">
                <a:latin typeface="Segoe UI Light" panose="020B0502040204020203" pitchFamily="34" charset="0"/>
                <a:cs typeface="Segoe UI Light" panose="020B0502040204020203" pitchFamily="34" charset="0"/>
              </a:rPr>
              <a:t>. 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CCF7EE5B-459D-4447-9F8A-2BCB8AFD719A}"/>
              </a:ext>
            </a:extLst>
          </p:cNvPr>
          <p:cNvSpPr txBox="1"/>
          <p:nvPr/>
        </p:nvSpPr>
        <p:spPr>
          <a:xfrm>
            <a:off x="8959999" y="4607517"/>
            <a:ext cx="2668514" cy="13388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en-US" sz="2000" b="1" dirty="0">
                <a:latin typeface="Segoe UI" panose="020B0502040204020203" pitchFamily="34" charset="0"/>
                <a:cs typeface="Segoe UI" panose="020B0502040204020203" pitchFamily="34" charset="0"/>
              </a:rPr>
              <a:t>03</a:t>
            </a:r>
          </a:p>
          <a:p>
            <a:pPr>
              <a:spcAft>
                <a:spcPts val="600"/>
              </a:spcAft>
            </a:pPr>
            <a:r>
              <a:rPr lang="en-US" sz="1400" dirty="0">
                <a:latin typeface="Segoe UI Light" panose="020B0502040204020203" pitchFamily="34" charset="0"/>
                <a:cs typeface="Segoe UI Light" panose="020B0502040204020203" pitchFamily="34" charset="0"/>
              </a:rPr>
              <a:t>Lorem ipsum dolor sit </a:t>
            </a:r>
            <a:r>
              <a:rPr lang="en-US" sz="14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amet</a:t>
            </a:r>
            <a:r>
              <a:rPr lang="en-US" sz="1400" dirty="0">
                <a:latin typeface="Segoe UI Light" panose="020B0502040204020203" pitchFamily="34" charset="0"/>
                <a:cs typeface="Segoe UI Light" panose="020B0502040204020203" pitchFamily="34" charset="0"/>
              </a:rPr>
              <a:t>, </a:t>
            </a:r>
            <a:r>
              <a:rPr lang="en-US" sz="14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consectetur</a:t>
            </a:r>
            <a:r>
              <a:rPr lang="en-US" sz="14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sz="14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adipiscing</a:t>
            </a:r>
            <a:r>
              <a:rPr lang="en-US" sz="14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sz="14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elit</a:t>
            </a:r>
            <a:r>
              <a:rPr lang="en-US" sz="1400" dirty="0">
                <a:latin typeface="Segoe UI Light" panose="020B0502040204020203" pitchFamily="34" charset="0"/>
                <a:cs typeface="Segoe UI Light" panose="020B0502040204020203" pitchFamily="34" charset="0"/>
              </a:rPr>
              <a:t>, sed do </a:t>
            </a:r>
            <a:r>
              <a:rPr lang="en-US" sz="14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eiusmod</a:t>
            </a:r>
            <a:r>
              <a:rPr lang="en-US" sz="14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sz="14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tempor</a:t>
            </a:r>
            <a:r>
              <a:rPr lang="en-US" sz="14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sz="14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incididunt</a:t>
            </a:r>
            <a:r>
              <a:rPr lang="en-US" sz="14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sz="14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ut</a:t>
            </a:r>
            <a:r>
              <a:rPr lang="en-US" sz="14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sz="14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labore</a:t>
            </a:r>
            <a:r>
              <a:rPr lang="en-US" sz="1400" dirty="0">
                <a:latin typeface="Segoe UI Light" panose="020B0502040204020203" pitchFamily="34" charset="0"/>
                <a:cs typeface="Segoe UI Light" panose="020B0502040204020203" pitchFamily="34" charset="0"/>
              </a:rPr>
              <a:t> et dolore magna </a:t>
            </a:r>
            <a:r>
              <a:rPr lang="en-US" sz="14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aliqua</a:t>
            </a:r>
            <a:r>
              <a:rPr lang="en-US" sz="1400" dirty="0">
                <a:latin typeface="Segoe UI Light" panose="020B0502040204020203" pitchFamily="34" charset="0"/>
                <a:cs typeface="Segoe UI Light" panose="020B0502040204020203" pitchFamily="34" charset="0"/>
              </a:rPr>
              <a:t>. 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42B59996-7BB2-4DB8-9864-2B449F7F581F}"/>
              </a:ext>
            </a:extLst>
          </p:cNvPr>
          <p:cNvSpPr txBox="1"/>
          <p:nvPr/>
        </p:nvSpPr>
        <p:spPr>
          <a:xfrm>
            <a:off x="6865255" y="1426650"/>
            <a:ext cx="2668514" cy="13388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en-US" sz="2000" b="1" dirty="0">
                <a:latin typeface="Segoe UI" panose="020B0502040204020203" pitchFamily="34" charset="0"/>
                <a:cs typeface="Segoe UI" panose="020B0502040204020203" pitchFamily="34" charset="0"/>
              </a:rPr>
              <a:t>02</a:t>
            </a:r>
          </a:p>
          <a:p>
            <a:pPr>
              <a:spcAft>
                <a:spcPts val="600"/>
              </a:spcAft>
            </a:pPr>
            <a:r>
              <a:rPr lang="en-US" sz="1400" dirty="0">
                <a:latin typeface="Segoe UI Light" panose="020B0502040204020203" pitchFamily="34" charset="0"/>
                <a:cs typeface="Segoe UI Light" panose="020B0502040204020203" pitchFamily="34" charset="0"/>
              </a:rPr>
              <a:t>Lorem ipsum dolor sit </a:t>
            </a:r>
            <a:r>
              <a:rPr lang="en-US" sz="14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amet</a:t>
            </a:r>
            <a:r>
              <a:rPr lang="en-US" sz="1400" dirty="0">
                <a:latin typeface="Segoe UI Light" panose="020B0502040204020203" pitchFamily="34" charset="0"/>
                <a:cs typeface="Segoe UI Light" panose="020B0502040204020203" pitchFamily="34" charset="0"/>
              </a:rPr>
              <a:t>, </a:t>
            </a:r>
            <a:r>
              <a:rPr lang="en-US" sz="14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consectetur</a:t>
            </a:r>
            <a:r>
              <a:rPr lang="en-US" sz="14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sz="14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adipiscing</a:t>
            </a:r>
            <a:r>
              <a:rPr lang="en-US" sz="14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sz="14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elit</a:t>
            </a:r>
            <a:r>
              <a:rPr lang="en-US" sz="1400" dirty="0">
                <a:latin typeface="Segoe UI Light" panose="020B0502040204020203" pitchFamily="34" charset="0"/>
                <a:cs typeface="Segoe UI Light" panose="020B0502040204020203" pitchFamily="34" charset="0"/>
              </a:rPr>
              <a:t>, sed do </a:t>
            </a:r>
            <a:r>
              <a:rPr lang="en-US" sz="14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eiusmod</a:t>
            </a:r>
            <a:r>
              <a:rPr lang="en-US" sz="14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sz="14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tempor</a:t>
            </a:r>
            <a:r>
              <a:rPr lang="en-US" sz="14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sz="14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incididunt</a:t>
            </a:r>
            <a:r>
              <a:rPr lang="en-US" sz="14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sz="14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ut</a:t>
            </a:r>
            <a:r>
              <a:rPr lang="en-US" sz="14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sz="14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labore</a:t>
            </a:r>
            <a:r>
              <a:rPr lang="en-US" sz="1400" dirty="0">
                <a:latin typeface="Segoe UI Light" panose="020B0502040204020203" pitchFamily="34" charset="0"/>
                <a:cs typeface="Segoe UI Light" panose="020B0502040204020203" pitchFamily="34" charset="0"/>
              </a:rPr>
              <a:t> et dolore magna </a:t>
            </a:r>
            <a:r>
              <a:rPr lang="en-US" sz="14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aliqua</a:t>
            </a:r>
            <a:r>
              <a:rPr lang="en-US" sz="1400" dirty="0">
                <a:latin typeface="Segoe UI Light" panose="020B0502040204020203" pitchFamily="34" charset="0"/>
                <a:cs typeface="Segoe UI Light" panose="020B0502040204020203" pitchFamily="34" charset="0"/>
              </a:rPr>
              <a:t>. </a:t>
            </a:r>
          </a:p>
        </p:txBody>
      </p:sp>
      <p:sp>
        <p:nvSpPr>
          <p:cNvPr id="41" name="Slide Number Placeholder 40">
            <a:extLst>
              <a:ext uri="{FF2B5EF4-FFF2-40B4-BE49-F238E27FC236}">
                <a16:creationId xmlns:a16="http://schemas.microsoft.com/office/drawing/2014/main" id="{91657E30-0A2F-48B1-A628-347DDA5850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13A2AF-9881-47E7-AE38-D70ECBD2298B}" type="slidenum">
              <a:rPr lang="en-US" smtClean="0"/>
              <a:t>13</a:t>
            </a:fld>
            <a:endParaRPr lang="en-US"/>
          </a:p>
        </p:txBody>
      </p:sp>
      <p:pic>
        <p:nvPicPr>
          <p:cNvPr id="43" name="Graphic 42">
            <a:extLst>
              <a:ext uri="{FF2B5EF4-FFF2-40B4-BE49-F238E27FC236}">
                <a16:creationId xmlns:a16="http://schemas.microsoft.com/office/drawing/2014/main" id="{4DFD1EBC-1058-44DA-A7A5-E40C5853BF4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68483" y="4316101"/>
            <a:ext cx="318882" cy="318882"/>
          </a:xfrm>
          <a:prstGeom prst="rect">
            <a:avLst/>
          </a:prstGeom>
        </p:spPr>
      </p:pic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B04E14D5-6420-4A1A-BBBF-7402B29F0C51}"/>
              </a:ext>
            </a:extLst>
          </p:cNvPr>
          <p:cNvCxnSpPr>
            <a:cxnSpLocks/>
          </p:cNvCxnSpPr>
          <p:nvPr/>
        </p:nvCxnSpPr>
        <p:spPr>
          <a:xfrm>
            <a:off x="6751712" y="1343026"/>
            <a:ext cx="2895601" cy="0"/>
          </a:xfrm>
          <a:prstGeom prst="line">
            <a:avLst/>
          </a:prstGeom>
          <a:ln w="15875">
            <a:solidFill>
              <a:srgbClr val="A6B72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AF20DA67-E5BD-4822-BDAC-4D1555FAFC73}"/>
              </a:ext>
            </a:extLst>
          </p:cNvPr>
          <p:cNvCxnSpPr>
            <a:cxnSpLocks/>
          </p:cNvCxnSpPr>
          <p:nvPr/>
        </p:nvCxnSpPr>
        <p:spPr>
          <a:xfrm>
            <a:off x="4656968" y="6038851"/>
            <a:ext cx="2895601" cy="0"/>
          </a:xfrm>
          <a:prstGeom prst="line">
            <a:avLst/>
          </a:prstGeom>
          <a:ln w="15875">
            <a:solidFill>
              <a:srgbClr val="DE4D1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7F7FBAE8-8026-4607-A445-7F8BCD94F9C0}"/>
              </a:ext>
            </a:extLst>
          </p:cNvPr>
          <p:cNvCxnSpPr>
            <a:cxnSpLocks/>
          </p:cNvCxnSpPr>
          <p:nvPr/>
        </p:nvCxnSpPr>
        <p:spPr>
          <a:xfrm>
            <a:off x="8846456" y="6038851"/>
            <a:ext cx="2895601" cy="0"/>
          </a:xfrm>
          <a:prstGeom prst="line">
            <a:avLst/>
          </a:prstGeom>
          <a:ln w="15875">
            <a:solidFill>
              <a:srgbClr val="6B2B9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3484482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4" name="Picture 43">
            <a:extLst>
              <a:ext uri="{FF2B5EF4-FFF2-40B4-BE49-F238E27FC236}">
                <a16:creationId xmlns:a16="http://schemas.microsoft.com/office/drawing/2014/main" id="{3C9E2E5C-1108-47F0-B48E-FBF94171174B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duotone>
              <a:prstClr val="black"/>
              <a:schemeClr val="bg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826" t="4428" r="8727" b="5454"/>
          <a:stretch/>
        </p:blipFill>
        <p:spPr>
          <a:xfrm>
            <a:off x="2720985" y="2336141"/>
            <a:ext cx="2453800" cy="2185721"/>
          </a:xfrm>
          <a:custGeom>
            <a:avLst/>
            <a:gdLst>
              <a:gd name="connsiteX0" fmla="*/ 0 w 2453800"/>
              <a:gd name="connsiteY0" fmla="*/ 0 h 2185721"/>
              <a:gd name="connsiteX1" fmla="*/ 2453800 w 2453800"/>
              <a:gd name="connsiteY1" fmla="*/ 0 h 2185721"/>
              <a:gd name="connsiteX2" fmla="*/ 2453800 w 2453800"/>
              <a:gd name="connsiteY2" fmla="*/ 2185721 h 2185721"/>
              <a:gd name="connsiteX3" fmla="*/ 0 w 2453800"/>
              <a:gd name="connsiteY3" fmla="*/ 2185721 h 21857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453800" h="2185721">
                <a:moveTo>
                  <a:pt x="0" y="0"/>
                </a:moveTo>
                <a:lnTo>
                  <a:pt x="2453800" y="0"/>
                </a:lnTo>
                <a:lnTo>
                  <a:pt x="2453800" y="2185721"/>
                </a:lnTo>
                <a:lnTo>
                  <a:pt x="0" y="2185721"/>
                </a:lnTo>
                <a:close/>
              </a:path>
            </a:pathLst>
          </a:custGeom>
        </p:spPr>
      </p:pic>
      <p:pic>
        <p:nvPicPr>
          <p:cNvPr id="43" name="Picture 42">
            <a:extLst>
              <a:ext uri="{FF2B5EF4-FFF2-40B4-BE49-F238E27FC236}">
                <a16:creationId xmlns:a16="http://schemas.microsoft.com/office/drawing/2014/main" id="{5B725929-9054-438F-9944-BFEBF6929866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duotone>
              <a:prstClr val="black"/>
              <a:schemeClr val="bg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829" t="22024" r="10679" b="12072"/>
          <a:stretch/>
        </p:blipFill>
        <p:spPr>
          <a:xfrm>
            <a:off x="131535" y="2336141"/>
            <a:ext cx="2453800" cy="2185721"/>
          </a:xfrm>
          <a:custGeom>
            <a:avLst/>
            <a:gdLst>
              <a:gd name="connsiteX0" fmla="*/ 0 w 2453800"/>
              <a:gd name="connsiteY0" fmla="*/ 0 h 2185721"/>
              <a:gd name="connsiteX1" fmla="*/ 2453800 w 2453800"/>
              <a:gd name="connsiteY1" fmla="*/ 0 h 2185721"/>
              <a:gd name="connsiteX2" fmla="*/ 2453800 w 2453800"/>
              <a:gd name="connsiteY2" fmla="*/ 2185721 h 2185721"/>
              <a:gd name="connsiteX3" fmla="*/ 0 w 2453800"/>
              <a:gd name="connsiteY3" fmla="*/ 2185721 h 21857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453800" h="2185721">
                <a:moveTo>
                  <a:pt x="0" y="0"/>
                </a:moveTo>
                <a:lnTo>
                  <a:pt x="2453800" y="0"/>
                </a:lnTo>
                <a:lnTo>
                  <a:pt x="2453800" y="2185721"/>
                </a:lnTo>
                <a:lnTo>
                  <a:pt x="0" y="2185721"/>
                </a:lnTo>
                <a:close/>
              </a:path>
            </a:pathLst>
          </a:custGeom>
        </p:spPr>
      </p:pic>
      <p:pic>
        <p:nvPicPr>
          <p:cNvPr id="42" name="Picture 41">
            <a:extLst>
              <a:ext uri="{FF2B5EF4-FFF2-40B4-BE49-F238E27FC236}">
                <a16:creationId xmlns:a16="http://schemas.microsoft.com/office/drawing/2014/main" id="{58357A94-6A53-422A-96F7-5785CBA48D77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duotone>
              <a:prstClr val="black"/>
              <a:schemeClr val="bg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942" t="6460" r="21326"/>
          <a:stretch/>
        </p:blipFill>
        <p:spPr>
          <a:xfrm>
            <a:off x="5740314" y="159336"/>
            <a:ext cx="2023922" cy="2044522"/>
          </a:xfrm>
          <a:custGeom>
            <a:avLst/>
            <a:gdLst>
              <a:gd name="connsiteX0" fmla="*/ 0 w 2023922"/>
              <a:gd name="connsiteY0" fmla="*/ 0 h 2044522"/>
              <a:gd name="connsiteX1" fmla="*/ 2023922 w 2023922"/>
              <a:gd name="connsiteY1" fmla="*/ 0 h 2044522"/>
              <a:gd name="connsiteX2" fmla="*/ 2023922 w 2023922"/>
              <a:gd name="connsiteY2" fmla="*/ 2044522 h 2044522"/>
              <a:gd name="connsiteX3" fmla="*/ 0 w 2023922"/>
              <a:gd name="connsiteY3" fmla="*/ 2044522 h 20445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023922" h="2044522">
                <a:moveTo>
                  <a:pt x="0" y="0"/>
                </a:moveTo>
                <a:lnTo>
                  <a:pt x="2023922" y="0"/>
                </a:lnTo>
                <a:lnTo>
                  <a:pt x="2023922" y="2044522"/>
                </a:lnTo>
                <a:lnTo>
                  <a:pt x="0" y="2044522"/>
                </a:lnTo>
                <a:close/>
              </a:path>
            </a:pathLst>
          </a:custGeom>
        </p:spPr>
      </p:pic>
      <p:pic>
        <p:nvPicPr>
          <p:cNvPr id="40" name="Picture 39">
            <a:extLst>
              <a:ext uri="{FF2B5EF4-FFF2-40B4-BE49-F238E27FC236}">
                <a16:creationId xmlns:a16="http://schemas.microsoft.com/office/drawing/2014/main" id="{7E72D3E7-1F53-43A3-9F20-38AAA2821DE8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duotone>
              <a:prstClr val="black"/>
              <a:schemeClr val="bg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307" t="3912" r="18906" b="16599"/>
          <a:stretch>
            <a:fillRect/>
          </a:stretch>
        </p:blipFill>
        <p:spPr>
          <a:xfrm>
            <a:off x="131536" y="4654143"/>
            <a:ext cx="2050379" cy="2044522"/>
          </a:xfrm>
          <a:custGeom>
            <a:avLst/>
            <a:gdLst>
              <a:gd name="connsiteX0" fmla="*/ 0 w 2050379"/>
              <a:gd name="connsiteY0" fmla="*/ 0 h 2044522"/>
              <a:gd name="connsiteX1" fmla="*/ 2050379 w 2050379"/>
              <a:gd name="connsiteY1" fmla="*/ 0 h 2044522"/>
              <a:gd name="connsiteX2" fmla="*/ 2050379 w 2050379"/>
              <a:gd name="connsiteY2" fmla="*/ 2044522 h 2044522"/>
              <a:gd name="connsiteX3" fmla="*/ 0 w 2050379"/>
              <a:gd name="connsiteY3" fmla="*/ 2044522 h 20445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050379" h="2044522">
                <a:moveTo>
                  <a:pt x="0" y="0"/>
                </a:moveTo>
                <a:lnTo>
                  <a:pt x="2050379" y="0"/>
                </a:lnTo>
                <a:lnTo>
                  <a:pt x="2050379" y="2044522"/>
                </a:lnTo>
                <a:lnTo>
                  <a:pt x="0" y="2044522"/>
                </a:lnTo>
                <a:close/>
              </a:path>
            </a:pathLst>
          </a:custGeom>
        </p:spPr>
      </p:pic>
      <p:pic>
        <p:nvPicPr>
          <p:cNvPr id="39" name="Picture 38">
            <a:extLst>
              <a:ext uri="{FF2B5EF4-FFF2-40B4-BE49-F238E27FC236}">
                <a16:creationId xmlns:a16="http://schemas.microsoft.com/office/drawing/2014/main" id="{FEC489BB-6D23-4BB2-858F-AE041FC3FC8E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duotone>
              <a:prstClr val="black"/>
              <a:schemeClr val="bg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547" t="19290" r="7444" b="31187"/>
          <a:stretch/>
        </p:blipFill>
        <p:spPr>
          <a:xfrm>
            <a:off x="2314197" y="4654143"/>
            <a:ext cx="5450039" cy="2044522"/>
          </a:xfrm>
          <a:custGeom>
            <a:avLst/>
            <a:gdLst>
              <a:gd name="connsiteX0" fmla="*/ 0 w 5450039"/>
              <a:gd name="connsiteY0" fmla="*/ 0 h 2044522"/>
              <a:gd name="connsiteX1" fmla="*/ 5450039 w 5450039"/>
              <a:gd name="connsiteY1" fmla="*/ 0 h 2044522"/>
              <a:gd name="connsiteX2" fmla="*/ 5450039 w 5450039"/>
              <a:gd name="connsiteY2" fmla="*/ 2044522 h 2044522"/>
              <a:gd name="connsiteX3" fmla="*/ 0 w 5450039"/>
              <a:gd name="connsiteY3" fmla="*/ 2044522 h 20445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450039" h="2044522">
                <a:moveTo>
                  <a:pt x="0" y="0"/>
                </a:moveTo>
                <a:lnTo>
                  <a:pt x="5450039" y="0"/>
                </a:lnTo>
                <a:lnTo>
                  <a:pt x="5450039" y="2044522"/>
                </a:lnTo>
                <a:lnTo>
                  <a:pt x="0" y="2044522"/>
                </a:lnTo>
                <a:close/>
              </a:path>
            </a:pathLst>
          </a:custGeom>
        </p:spPr>
      </p:pic>
      <p:pic>
        <p:nvPicPr>
          <p:cNvPr id="45" name="Picture 44">
            <a:extLst>
              <a:ext uri="{FF2B5EF4-FFF2-40B4-BE49-F238E27FC236}">
                <a16:creationId xmlns:a16="http://schemas.microsoft.com/office/drawing/2014/main" id="{52676595-1315-465C-A114-1CCD8090608A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duotone>
              <a:prstClr val="black"/>
              <a:schemeClr val="bg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62" t="27252" r="38219" b="2059"/>
          <a:stretch/>
        </p:blipFill>
        <p:spPr>
          <a:xfrm>
            <a:off x="5310436" y="2336140"/>
            <a:ext cx="2453800" cy="2185721"/>
          </a:xfrm>
          <a:custGeom>
            <a:avLst/>
            <a:gdLst>
              <a:gd name="connsiteX0" fmla="*/ 0 w 2453800"/>
              <a:gd name="connsiteY0" fmla="*/ 0 h 2185721"/>
              <a:gd name="connsiteX1" fmla="*/ 2453800 w 2453800"/>
              <a:gd name="connsiteY1" fmla="*/ 0 h 2185721"/>
              <a:gd name="connsiteX2" fmla="*/ 2453800 w 2453800"/>
              <a:gd name="connsiteY2" fmla="*/ 2185721 h 2185721"/>
              <a:gd name="connsiteX3" fmla="*/ 0 w 2453800"/>
              <a:gd name="connsiteY3" fmla="*/ 2185721 h 21857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453800" h="2185721">
                <a:moveTo>
                  <a:pt x="0" y="0"/>
                </a:moveTo>
                <a:lnTo>
                  <a:pt x="2453800" y="0"/>
                </a:lnTo>
                <a:lnTo>
                  <a:pt x="2453800" y="2185721"/>
                </a:lnTo>
                <a:lnTo>
                  <a:pt x="0" y="2185721"/>
                </a:lnTo>
                <a:close/>
              </a:path>
            </a:pathLst>
          </a:custGeom>
        </p:spPr>
      </p:pic>
      <p:pic>
        <p:nvPicPr>
          <p:cNvPr id="36" name="Picture 35">
            <a:extLst>
              <a:ext uri="{FF2B5EF4-FFF2-40B4-BE49-F238E27FC236}">
                <a16:creationId xmlns:a16="http://schemas.microsoft.com/office/drawing/2014/main" id="{BCD47C97-207D-449D-AF17-F0F84072BFE1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print">
            <a:duotone>
              <a:prstClr val="black"/>
              <a:schemeClr val="bg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54" t="30804" r="3054" b="16617"/>
          <a:stretch/>
        </p:blipFill>
        <p:spPr>
          <a:xfrm>
            <a:off x="131536" y="159336"/>
            <a:ext cx="5476496" cy="2044522"/>
          </a:xfrm>
          <a:custGeom>
            <a:avLst/>
            <a:gdLst>
              <a:gd name="connsiteX0" fmla="*/ 0 w 5476496"/>
              <a:gd name="connsiteY0" fmla="*/ 0 h 2044522"/>
              <a:gd name="connsiteX1" fmla="*/ 5476496 w 5476496"/>
              <a:gd name="connsiteY1" fmla="*/ 0 h 2044522"/>
              <a:gd name="connsiteX2" fmla="*/ 5476496 w 5476496"/>
              <a:gd name="connsiteY2" fmla="*/ 2044522 h 2044522"/>
              <a:gd name="connsiteX3" fmla="*/ 0 w 5476496"/>
              <a:gd name="connsiteY3" fmla="*/ 2044522 h 20445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476496" h="2044522">
                <a:moveTo>
                  <a:pt x="0" y="0"/>
                </a:moveTo>
                <a:lnTo>
                  <a:pt x="5476496" y="0"/>
                </a:lnTo>
                <a:lnTo>
                  <a:pt x="5476496" y="2044522"/>
                </a:lnTo>
                <a:lnTo>
                  <a:pt x="0" y="2044522"/>
                </a:lnTo>
                <a:close/>
              </a:path>
            </a:pathLst>
          </a:custGeom>
        </p:spPr>
      </p:pic>
      <p:grpSp>
        <p:nvGrpSpPr>
          <p:cNvPr id="46" name="Group 45">
            <a:extLst>
              <a:ext uri="{FF2B5EF4-FFF2-40B4-BE49-F238E27FC236}">
                <a16:creationId xmlns:a16="http://schemas.microsoft.com/office/drawing/2014/main" id="{C730B6A0-6895-4C19-8272-B4F32875D307}"/>
              </a:ext>
            </a:extLst>
          </p:cNvPr>
          <p:cNvGrpSpPr/>
          <p:nvPr/>
        </p:nvGrpSpPr>
        <p:grpSpPr>
          <a:xfrm>
            <a:off x="10928712" y="6378850"/>
            <a:ext cx="947290" cy="270982"/>
            <a:chOff x="4103688" y="-2378075"/>
            <a:chExt cx="1309687" cy="374650"/>
          </a:xfrm>
          <a:solidFill>
            <a:srgbClr val="468DC3"/>
          </a:solidFill>
        </p:grpSpPr>
        <p:sp>
          <p:nvSpPr>
            <p:cNvPr id="47" name="Freeform 254">
              <a:extLst>
                <a:ext uri="{FF2B5EF4-FFF2-40B4-BE49-F238E27FC236}">
                  <a16:creationId xmlns:a16="http://schemas.microsoft.com/office/drawing/2014/main" id="{2C71E541-C077-487E-ADF3-6D2D8ED5689B}"/>
                </a:ext>
              </a:extLst>
            </p:cNvPr>
            <p:cNvSpPr>
              <a:spLocks/>
            </p:cNvSpPr>
            <p:nvPr/>
          </p:nvSpPr>
          <p:spPr bwMode="auto">
            <a:xfrm>
              <a:off x="4103688" y="-2374900"/>
              <a:ext cx="182562" cy="288925"/>
            </a:xfrm>
            <a:custGeom>
              <a:avLst/>
              <a:gdLst>
                <a:gd name="T0" fmla="*/ 43 w 61"/>
                <a:gd name="T1" fmla="*/ 47 h 95"/>
                <a:gd name="T2" fmla="*/ 30 w 61"/>
                <a:gd name="T3" fmla="*/ 55 h 95"/>
                <a:gd name="T4" fmla="*/ 11 w 61"/>
                <a:gd name="T5" fmla="*/ 83 h 95"/>
                <a:gd name="T6" fmla="*/ 11 w 61"/>
                <a:gd name="T7" fmla="*/ 85 h 95"/>
                <a:gd name="T8" fmla="*/ 57 w 61"/>
                <a:gd name="T9" fmla="*/ 85 h 95"/>
                <a:gd name="T10" fmla="*/ 60 w 61"/>
                <a:gd name="T11" fmla="*/ 88 h 95"/>
                <a:gd name="T12" fmla="*/ 60 w 61"/>
                <a:gd name="T13" fmla="*/ 93 h 95"/>
                <a:gd name="T14" fmla="*/ 57 w 61"/>
                <a:gd name="T15" fmla="*/ 95 h 95"/>
                <a:gd name="T16" fmla="*/ 3 w 61"/>
                <a:gd name="T17" fmla="*/ 95 h 95"/>
                <a:gd name="T18" fmla="*/ 0 w 61"/>
                <a:gd name="T19" fmla="*/ 93 h 95"/>
                <a:gd name="T20" fmla="*/ 0 w 61"/>
                <a:gd name="T21" fmla="*/ 83 h 95"/>
                <a:gd name="T22" fmla="*/ 21 w 61"/>
                <a:gd name="T23" fmla="*/ 49 h 95"/>
                <a:gd name="T24" fmla="*/ 35 w 61"/>
                <a:gd name="T25" fmla="*/ 40 h 95"/>
                <a:gd name="T26" fmla="*/ 49 w 61"/>
                <a:gd name="T27" fmla="*/ 22 h 95"/>
                <a:gd name="T28" fmla="*/ 28 w 61"/>
                <a:gd name="T29" fmla="*/ 9 h 95"/>
                <a:gd name="T30" fmla="*/ 4 w 61"/>
                <a:gd name="T31" fmla="*/ 11 h 95"/>
                <a:gd name="T32" fmla="*/ 3 w 61"/>
                <a:gd name="T33" fmla="*/ 11 h 95"/>
                <a:gd name="T34" fmla="*/ 1 w 61"/>
                <a:gd name="T35" fmla="*/ 9 h 95"/>
                <a:gd name="T36" fmla="*/ 1 w 61"/>
                <a:gd name="T37" fmla="*/ 4 h 95"/>
                <a:gd name="T38" fmla="*/ 4 w 61"/>
                <a:gd name="T39" fmla="*/ 2 h 95"/>
                <a:gd name="T40" fmla="*/ 28 w 61"/>
                <a:gd name="T41" fmla="*/ 0 h 95"/>
                <a:gd name="T42" fmla="*/ 61 w 61"/>
                <a:gd name="T43" fmla="*/ 22 h 95"/>
                <a:gd name="T44" fmla="*/ 43 w 61"/>
                <a:gd name="T45" fmla="*/ 47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61" h="95">
                  <a:moveTo>
                    <a:pt x="43" y="47"/>
                  </a:moveTo>
                  <a:cubicBezTo>
                    <a:pt x="30" y="55"/>
                    <a:pt x="30" y="55"/>
                    <a:pt x="30" y="55"/>
                  </a:cubicBezTo>
                  <a:cubicBezTo>
                    <a:pt x="15" y="65"/>
                    <a:pt x="11" y="72"/>
                    <a:pt x="11" y="83"/>
                  </a:cubicBezTo>
                  <a:cubicBezTo>
                    <a:pt x="11" y="85"/>
                    <a:pt x="11" y="85"/>
                    <a:pt x="11" y="85"/>
                  </a:cubicBezTo>
                  <a:cubicBezTo>
                    <a:pt x="57" y="85"/>
                    <a:pt x="57" y="85"/>
                    <a:pt x="57" y="85"/>
                  </a:cubicBezTo>
                  <a:cubicBezTo>
                    <a:pt x="59" y="85"/>
                    <a:pt x="60" y="86"/>
                    <a:pt x="60" y="88"/>
                  </a:cubicBezTo>
                  <a:cubicBezTo>
                    <a:pt x="60" y="93"/>
                    <a:pt x="60" y="93"/>
                    <a:pt x="60" y="93"/>
                  </a:cubicBezTo>
                  <a:cubicBezTo>
                    <a:pt x="60" y="95"/>
                    <a:pt x="59" y="95"/>
                    <a:pt x="57" y="95"/>
                  </a:cubicBezTo>
                  <a:cubicBezTo>
                    <a:pt x="3" y="95"/>
                    <a:pt x="3" y="95"/>
                    <a:pt x="3" y="95"/>
                  </a:cubicBezTo>
                  <a:cubicBezTo>
                    <a:pt x="1" y="95"/>
                    <a:pt x="0" y="94"/>
                    <a:pt x="0" y="93"/>
                  </a:cubicBezTo>
                  <a:cubicBezTo>
                    <a:pt x="0" y="83"/>
                    <a:pt x="0" y="83"/>
                    <a:pt x="0" y="83"/>
                  </a:cubicBezTo>
                  <a:cubicBezTo>
                    <a:pt x="0" y="69"/>
                    <a:pt x="6" y="58"/>
                    <a:pt x="21" y="49"/>
                  </a:cubicBezTo>
                  <a:cubicBezTo>
                    <a:pt x="35" y="40"/>
                    <a:pt x="35" y="40"/>
                    <a:pt x="35" y="40"/>
                  </a:cubicBezTo>
                  <a:cubicBezTo>
                    <a:pt x="46" y="33"/>
                    <a:pt x="49" y="30"/>
                    <a:pt x="49" y="22"/>
                  </a:cubicBezTo>
                  <a:cubicBezTo>
                    <a:pt x="49" y="13"/>
                    <a:pt x="43" y="9"/>
                    <a:pt x="28" y="9"/>
                  </a:cubicBezTo>
                  <a:cubicBezTo>
                    <a:pt x="21" y="9"/>
                    <a:pt x="12" y="10"/>
                    <a:pt x="4" y="11"/>
                  </a:cubicBezTo>
                  <a:cubicBezTo>
                    <a:pt x="4" y="11"/>
                    <a:pt x="4" y="11"/>
                    <a:pt x="3" y="11"/>
                  </a:cubicBezTo>
                  <a:cubicBezTo>
                    <a:pt x="2" y="11"/>
                    <a:pt x="1" y="10"/>
                    <a:pt x="1" y="9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3"/>
                    <a:pt x="3" y="2"/>
                    <a:pt x="4" y="2"/>
                  </a:cubicBezTo>
                  <a:cubicBezTo>
                    <a:pt x="11" y="0"/>
                    <a:pt x="20" y="0"/>
                    <a:pt x="28" y="0"/>
                  </a:cubicBezTo>
                  <a:cubicBezTo>
                    <a:pt x="51" y="0"/>
                    <a:pt x="61" y="7"/>
                    <a:pt x="61" y="22"/>
                  </a:cubicBezTo>
                  <a:cubicBezTo>
                    <a:pt x="61" y="33"/>
                    <a:pt x="56" y="39"/>
                    <a:pt x="43" y="4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8" name="Freeform 255">
              <a:extLst>
                <a:ext uri="{FF2B5EF4-FFF2-40B4-BE49-F238E27FC236}">
                  <a16:creationId xmlns:a16="http://schemas.microsoft.com/office/drawing/2014/main" id="{57AE4BE3-F3F1-406C-B966-79ED4DA14DF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08463" y="-2308225"/>
              <a:ext cx="211137" cy="304800"/>
            </a:xfrm>
            <a:custGeom>
              <a:avLst/>
              <a:gdLst>
                <a:gd name="T0" fmla="*/ 68 w 70"/>
                <a:gd name="T1" fmla="*/ 74 h 100"/>
                <a:gd name="T2" fmla="*/ 56 w 70"/>
                <a:gd name="T3" fmla="*/ 74 h 100"/>
                <a:gd name="T4" fmla="*/ 56 w 70"/>
                <a:gd name="T5" fmla="*/ 98 h 100"/>
                <a:gd name="T6" fmla="*/ 54 w 70"/>
                <a:gd name="T7" fmla="*/ 100 h 100"/>
                <a:gd name="T8" fmla="*/ 46 w 70"/>
                <a:gd name="T9" fmla="*/ 100 h 100"/>
                <a:gd name="T10" fmla="*/ 44 w 70"/>
                <a:gd name="T11" fmla="*/ 98 h 100"/>
                <a:gd name="T12" fmla="*/ 44 w 70"/>
                <a:gd name="T13" fmla="*/ 74 h 100"/>
                <a:gd name="T14" fmla="*/ 5 w 70"/>
                <a:gd name="T15" fmla="*/ 74 h 100"/>
                <a:gd name="T16" fmla="*/ 0 w 70"/>
                <a:gd name="T17" fmla="*/ 68 h 100"/>
                <a:gd name="T18" fmla="*/ 0 w 70"/>
                <a:gd name="T19" fmla="*/ 63 h 100"/>
                <a:gd name="T20" fmla="*/ 1 w 70"/>
                <a:gd name="T21" fmla="*/ 58 h 100"/>
                <a:gd name="T22" fmla="*/ 41 w 70"/>
                <a:gd name="T23" fmla="*/ 2 h 100"/>
                <a:gd name="T24" fmla="*/ 45 w 70"/>
                <a:gd name="T25" fmla="*/ 0 h 100"/>
                <a:gd name="T26" fmla="*/ 52 w 70"/>
                <a:gd name="T27" fmla="*/ 0 h 100"/>
                <a:gd name="T28" fmla="*/ 56 w 70"/>
                <a:gd name="T29" fmla="*/ 3 h 100"/>
                <a:gd name="T30" fmla="*/ 56 w 70"/>
                <a:gd name="T31" fmla="*/ 63 h 100"/>
                <a:gd name="T32" fmla="*/ 68 w 70"/>
                <a:gd name="T33" fmla="*/ 63 h 100"/>
                <a:gd name="T34" fmla="*/ 70 w 70"/>
                <a:gd name="T35" fmla="*/ 66 h 100"/>
                <a:gd name="T36" fmla="*/ 70 w 70"/>
                <a:gd name="T37" fmla="*/ 71 h 100"/>
                <a:gd name="T38" fmla="*/ 68 w 70"/>
                <a:gd name="T39" fmla="*/ 74 h 100"/>
                <a:gd name="T40" fmla="*/ 44 w 70"/>
                <a:gd name="T41" fmla="*/ 17 h 100"/>
                <a:gd name="T42" fmla="*/ 43 w 70"/>
                <a:gd name="T43" fmla="*/ 17 h 100"/>
                <a:gd name="T44" fmla="*/ 43 w 70"/>
                <a:gd name="T45" fmla="*/ 17 h 100"/>
                <a:gd name="T46" fmla="*/ 42 w 70"/>
                <a:gd name="T47" fmla="*/ 17 h 100"/>
                <a:gd name="T48" fmla="*/ 11 w 70"/>
                <a:gd name="T49" fmla="*/ 61 h 100"/>
                <a:gd name="T50" fmla="*/ 11 w 70"/>
                <a:gd name="T51" fmla="*/ 63 h 100"/>
                <a:gd name="T52" fmla="*/ 12 w 70"/>
                <a:gd name="T53" fmla="*/ 63 h 100"/>
                <a:gd name="T54" fmla="*/ 44 w 70"/>
                <a:gd name="T55" fmla="*/ 63 h 100"/>
                <a:gd name="T56" fmla="*/ 44 w 70"/>
                <a:gd name="T57" fmla="*/ 17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70" h="100">
                  <a:moveTo>
                    <a:pt x="68" y="74"/>
                  </a:moveTo>
                  <a:cubicBezTo>
                    <a:pt x="56" y="74"/>
                    <a:pt x="56" y="74"/>
                    <a:pt x="56" y="74"/>
                  </a:cubicBezTo>
                  <a:cubicBezTo>
                    <a:pt x="56" y="98"/>
                    <a:pt x="56" y="98"/>
                    <a:pt x="56" y="98"/>
                  </a:cubicBezTo>
                  <a:cubicBezTo>
                    <a:pt x="56" y="99"/>
                    <a:pt x="55" y="100"/>
                    <a:pt x="54" y="100"/>
                  </a:cubicBezTo>
                  <a:cubicBezTo>
                    <a:pt x="46" y="100"/>
                    <a:pt x="46" y="100"/>
                    <a:pt x="46" y="100"/>
                  </a:cubicBezTo>
                  <a:cubicBezTo>
                    <a:pt x="44" y="100"/>
                    <a:pt x="44" y="99"/>
                    <a:pt x="44" y="98"/>
                  </a:cubicBezTo>
                  <a:cubicBezTo>
                    <a:pt x="44" y="74"/>
                    <a:pt x="44" y="74"/>
                    <a:pt x="44" y="74"/>
                  </a:cubicBezTo>
                  <a:cubicBezTo>
                    <a:pt x="5" y="74"/>
                    <a:pt x="5" y="74"/>
                    <a:pt x="5" y="74"/>
                  </a:cubicBezTo>
                  <a:cubicBezTo>
                    <a:pt x="1" y="74"/>
                    <a:pt x="0" y="72"/>
                    <a:pt x="0" y="68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0" y="61"/>
                    <a:pt x="0" y="60"/>
                    <a:pt x="1" y="58"/>
                  </a:cubicBezTo>
                  <a:cubicBezTo>
                    <a:pt x="41" y="2"/>
                    <a:pt x="41" y="2"/>
                    <a:pt x="41" y="2"/>
                  </a:cubicBezTo>
                  <a:cubicBezTo>
                    <a:pt x="41" y="1"/>
                    <a:pt x="42" y="0"/>
                    <a:pt x="45" y="0"/>
                  </a:cubicBezTo>
                  <a:cubicBezTo>
                    <a:pt x="52" y="0"/>
                    <a:pt x="52" y="0"/>
                    <a:pt x="52" y="0"/>
                  </a:cubicBezTo>
                  <a:cubicBezTo>
                    <a:pt x="55" y="0"/>
                    <a:pt x="56" y="1"/>
                    <a:pt x="56" y="3"/>
                  </a:cubicBezTo>
                  <a:cubicBezTo>
                    <a:pt x="56" y="63"/>
                    <a:pt x="56" y="63"/>
                    <a:pt x="56" y="63"/>
                  </a:cubicBezTo>
                  <a:cubicBezTo>
                    <a:pt x="68" y="63"/>
                    <a:pt x="68" y="63"/>
                    <a:pt x="68" y="63"/>
                  </a:cubicBezTo>
                  <a:cubicBezTo>
                    <a:pt x="69" y="63"/>
                    <a:pt x="70" y="64"/>
                    <a:pt x="70" y="66"/>
                  </a:cubicBezTo>
                  <a:cubicBezTo>
                    <a:pt x="70" y="71"/>
                    <a:pt x="70" y="71"/>
                    <a:pt x="70" y="71"/>
                  </a:cubicBezTo>
                  <a:cubicBezTo>
                    <a:pt x="70" y="73"/>
                    <a:pt x="69" y="74"/>
                    <a:pt x="68" y="74"/>
                  </a:cubicBezTo>
                  <a:close/>
                  <a:moveTo>
                    <a:pt x="44" y="17"/>
                  </a:moveTo>
                  <a:cubicBezTo>
                    <a:pt x="44" y="17"/>
                    <a:pt x="44" y="17"/>
                    <a:pt x="43" y="17"/>
                  </a:cubicBezTo>
                  <a:cubicBezTo>
                    <a:pt x="43" y="17"/>
                    <a:pt x="43" y="17"/>
                    <a:pt x="43" y="17"/>
                  </a:cubicBezTo>
                  <a:cubicBezTo>
                    <a:pt x="43" y="17"/>
                    <a:pt x="42" y="17"/>
                    <a:pt x="42" y="17"/>
                  </a:cubicBezTo>
                  <a:cubicBezTo>
                    <a:pt x="11" y="61"/>
                    <a:pt x="11" y="61"/>
                    <a:pt x="11" y="61"/>
                  </a:cubicBezTo>
                  <a:cubicBezTo>
                    <a:pt x="11" y="62"/>
                    <a:pt x="11" y="62"/>
                    <a:pt x="11" y="63"/>
                  </a:cubicBezTo>
                  <a:cubicBezTo>
                    <a:pt x="11" y="63"/>
                    <a:pt x="11" y="63"/>
                    <a:pt x="12" y="63"/>
                  </a:cubicBezTo>
                  <a:cubicBezTo>
                    <a:pt x="44" y="63"/>
                    <a:pt x="44" y="63"/>
                    <a:pt x="44" y="63"/>
                  </a:cubicBezTo>
                  <a:lnTo>
                    <a:pt x="44" y="1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9" name="Freeform 256">
              <a:extLst>
                <a:ext uri="{FF2B5EF4-FFF2-40B4-BE49-F238E27FC236}">
                  <a16:creationId xmlns:a16="http://schemas.microsoft.com/office/drawing/2014/main" id="{95194608-4FB4-43F9-9488-8616552608DD}"/>
                </a:ext>
              </a:extLst>
            </p:cNvPr>
            <p:cNvSpPr>
              <a:spLocks/>
            </p:cNvSpPr>
            <p:nvPr/>
          </p:nvSpPr>
          <p:spPr bwMode="auto">
            <a:xfrm>
              <a:off x="4645025" y="-2374900"/>
              <a:ext cx="34925" cy="292100"/>
            </a:xfrm>
            <a:custGeom>
              <a:avLst/>
              <a:gdLst>
                <a:gd name="T0" fmla="*/ 11 w 12"/>
                <a:gd name="T1" fmla="*/ 95 h 96"/>
                <a:gd name="T2" fmla="*/ 10 w 12"/>
                <a:gd name="T3" fmla="*/ 96 h 96"/>
                <a:gd name="T4" fmla="*/ 3 w 12"/>
                <a:gd name="T5" fmla="*/ 96 h 96"/>
                <a:gd name="T6" fmla="*/ 1 w 12"/>
                <a:gd name="T7" fmla="*/ 95 h 96"/>
                <a:gd name="T8" fmla="*/ 0 w 12"/>
                <a:gd name="T9" fmla="*/ 93 h 96"/>
                <a:gd name="T10" fmla="*/ 0 w 12"/>
                <a:gd name="T11" fmla="*/ 2 h 96"/>
                <a:gd name="T12" fmla="*/ 1 w 12"/>
                <a:gd name="T13" fmla="*/ 1 h 96"/>
                <a:gd name="T14" fmla="*/ 3 w 12"/>
                <a:gd name="T15" fmla="*/ 0 h 96"/>
                <a:gd name="T16" fmla="*/ 10 w 12"/>
                <a:gd name="T17" fmla="*/ 0 h 96"/>
                <a:gd name="T18" fmla="*/ 11 w 12"/>
                <a:gd name="T19" fmla="*/ 1 h 96"/>
                <a:gd name="T20" fmla="*/ 12 w 12"/>
                <a:gd name="T21" fmla="*/ 2 h 96"/>
                <a:gd name="T22" fmla="*/ 12 w 12"/>
                <a:gd name="T23" fmla="*/ 93 h 96"/>
                <a:gd name="T24" fmla="*/ 11 w 12"/>
                <a:gd name="T25" fmla="*/ 95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" h="96">
                  <a:moveTo>
                    <a:pt x="11" y="95"/>
                  </a:moveTo>
                  <a:cubicBezTo>
                    <a:pt x="11" y="95"/>
                    <a:pt x="10" y="96"/>
                    <a:pt x="10" y="96"/>
                  </a:cubicBezTo>
                  <a:cubicBezTo>
                    <a:pt x="3" y="96"/>
                    <a:pt x="3" y="96"/>
                    <a:pt x="3" y="96"/>
                  </a:cubicBezTo>
                  <a:cubicBezTo>
                    <a:pt x="2" y="96"/>
                    <a:pt x="1" y="95"/>
                    <a:pt x="1" y="95"/>
                  </a:cubicBezTo>
                  <a:cubicBezTo>
                    <a:pt x="0" y="94"/>
                    <a:pt x="0" y="94"/>
                    <a:pt x="0" y="93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1"/>
                    <a:pt x="1" y="1"/>
                  </a:cubicBezTo>
                  <a:cubicBezTo>
                    <a:pt x="1" y="0"/>
                    <a:pt x="2" y="0"/>
                    <a:pt x="3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1" y="0"/>
                    <a:pt x="11" y="1"/>
                  </a:cubicBezTo>
                  <a:cubicBezTo>
                    <a:pt x="12" y="1"/>
                    <a:pt x="12" y="2"/>
                    <a:pt x="12" y="2"/>
                  </a:cubicBezTo>
                  <a:cubicBezTo>
                    <a:pt x="12" y="93"/>
                    <a:pt x="12" y="93"/>
                    <a:pt x="12" y="93"/>
                  </a:cubicBezTo>
                  <a:cubicBezTo>
                    <a:pt x="12" y="94"/>
                    <a:pt x="12" y="94"/>
                    <a:pt x="11" y="9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0" name="Freeform 257">
              <a:extLst>
                <a:ext uri="{FF2B5EF4-FFF2-40B4-BE49-F238E27FC236}">
                  <a16:creationId xmlns:a16="http://schemas.microsoft.com/office/drawing/2014/main" id="{8C9375EB-E1ED-461B-AC2A-ECB2D9B8507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43450" y="-2378075"/>
              <a:ext cx="36512" cy="295275"/>
            </a:xfrm>
            <a:custGeom>
              <a:avLst/>
              <a:gdLst>
                <a:gd name="T0" fmla="*/ 11 w 12"/>
                <a:gd name="T1" fmla="*/ 15 h 97"/>
                <a:gd name="T2" fmla="*/ 9 w 12"/>
                <a:gd name="T3" fmla="*/ 15 h 97"/>
                <a:gd name="T4" fmla="*/ 3 w 12"/>
                <a:gd name="T5" fmla="*/ 15 h 97"/>
                <a:gd name="T6" fmla="*/ 1 w 12"/>
                <a:gd name="T7" fmla="*/ 15 h 97"/>
                <a:gd name="T8" fmla="*/ 0 w 12"/>
                <a:gd name="T9" fmla="*/ 13 h 97"/>
                <a:gd name="T10" fmla="*/ 0 w 12"/>
                <a:gd name="T11" fmla="*/ 3 h 97"/>
                <a:gd name="T12" fmla="*/ 1 w 12"/>
                <a:gd name="T13" fmla="*/ 1 h 97"/>
                <a:gd name="T14" fmla="*/ 3 w 12"/>
                <a:gd name="T15" fmla="*/ 0 h 97"/>
                <a:gd name="T16" fmla="*/ 9 w 12"/>
                <a:gd name="T17" fmla="*/ 0 h 97"/>
                <a:gd name="T18" fmla="*/ 11 w 12"/>
                <a:gd name="T19" fmla="*/ 1 h 97"/>
                <a:gd name="T20" fmla="*/ 12 w 12"/>
                <a:gd name="T21" fmla="*/ 3 h 97"/>
                <a:gd name="T22" fmla="*/ 12 w 12"/>
                <a:gd name="T23" fmla="*/ 13 h 97"/>
                <a:gd name="T24" fmla="*/ 11 w 12"/>
                <a:gd name="T25" fmla="*/ 15 h 97"/>
                <a:gd name="T26" fmla="*/ 11 w 12"/>
                <a:gd name="T27" fmla="*/ 96 h 97"/>
                <a:gd name="T28" fmla="*/ 9 w 12"/>
                <a:gd name="T29" fmla="*/ 97 h 97"/>
                <a:gd name="T30" fmla="*/ 3 w 12"/>
                <a:gd name="T31" fmla="*/ 97 h 97"/>
                <a:gd name="T32" fmla="*/ 1 w 12"/>
                <a:gd name="T33" fmla="*/ 96 h 97"/>
                <a:gd name="T34" fmla="*/ 0 w 12"/>
                <a:gd name="T35" fmla="*/ 94 h 97"/>
                <a:gd name="T36" fmla="*/ 0 w 12"/>
                <a:gd name="T37" fmla="*/ 29 h 97"/>
                <a:gd name="T38" fmla="*/ 1 w 12"/>
                <a:gd name="T39" fmla="*/ 27 h 97"/>
                <a:gd name="T40" fmla="*/ 3 w 12"/>
                <a:gd name="T41" fmla="*/ 27 h 97"/>
                <a:gd name="T42" fmla="*/ 9 w 12"/>
                <a:gd name="T43" fmla="*/ 27 h 97"/>
                <a:gd name="T44" fmla="*/ 11 w 12"/>
                <a:gd name="T45" fmla="*/ 27 h 97"/>
                <a:gd name="T46" fmla="*/ 12 w 12"/>
                <a:gd name="T47" fmla="*/ 29 h 97"/>
                <a:gd name="T48" fmla="*/ 12 w 12"/>
                <a:gd name="T49" fmla="*/ 94 h 97"/>
                <a:gd name="T50" fmla="*/ 11 w 12"/>
                <a:gd name="T51" fmla="*/ 96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2" h="97">
                  <a:moveTo>
                    <a:pt x="11" y="15"/>
                  </a:moveTo>
                  <a:cubicBezTo>
                    <a:pt x="11" y="15"/>
                    <a:pt x="10" y="15"/>
                    <a:pt x="9" y="15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2" y="15"/>
                    <a:pt x="1" y="15"/>
                    <a:pt x="1" y="15"/>
                  </a:cubicBezTo>
                  <a:cubicBezTo>
                    <a:pt x="0" y="14"/>
                    <a:pt x="0" y="14"/>
                    <a:pt x="0" y="1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0" y="1"/>
                    <a:pt x="1" y="1"/>
                  </a:cubicBezTo>
                  <a:cubicBezTo>
                    <a:pt x="1" y="0"/>
                    <a:pt x="2" y="0"/>
                    <a:pt x="3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0" y="0"/>
                    <a:pt x="11" y="0"/>
                    <a:pt x="11" y="1"/>
                  </a:cubicBezTo>
                  <a:cubicBezTo>
                    <a:pt x="12" y="1"/>
                    <a:pt x="12" y="2"/>
                    <a:pt x="12" y="3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2" y="14"/>
                    <a:pt x="12" y="14"/>
                    <a:pt x="11" y="15"/>
                  </a:cubicBezTo>
                  <a:close/>
                  <a:moveTo>
                    <a:pt x="11" y="96"/>
                  </a:moveTo>
                  <a:cubicBezTo>
                    <a:pt x="10" y="96"/>
                    <a:pt x="10" y="97"/>
                    <a:pt x="9" y="97"/>
                  </a:cubicBezTo>
                  <a:cubicBezTo>
                    <a:pt x="3" y="97"/>
                    <a:pt x="3" y="97"/>
                    <a:pt x="3" y="97"/>
                  </a:cubicBezTo>
                  <a:cubicBezTo>
                    <a:pt x="2" y="97"/>
                    <a:pt x="1" y="96"/>
                    <a:pt x="1" y="96"/>
                  </a:cubicBezTo>
                  <a:cubicBezTo>
                    <a:pt x="0" y="95"/>
                    <a:pt x="0" y="95"/>
                    <a:pt x="0" y="94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28"/>
                    <a:pt x="0" y="28"/>
                    <a:pt x="1" y="27"/>
                  </a:cubicBezTo>
                  <a:cubicBezTo>
                    <a:pt x="1" y="27"/>
                    <a:pt x="2" y="27"/>
                    <a:pt x="3" y="27"/>
                  </a:cubicBezTo>
                  <a:cubicBezTo>
                    <a:pt x="9" y="27"/>
                    <a:pt x="9" y="27"/>
                    <a:pt x="9" y="27"/>
                  </a:cubicBezTo>
                  <a:cubicBezTo>
                    <a:pt x="10" y="27"/>
                    <a:pt x="10" y="27"/>
                    <a:pt x="11" y="27"/>
                  </a:cubicBezTo>
                  <a:cubicBezTo>
                    <a:pt x="11" y="28"/>
                    <a:pt x="12" y="28"/>
                    <a:pt x="12" y="29"/>
                  </a:cubicBezTo>
                  <a:cubicBezTo>
                    <a:pt x="12" y="94"/>
                    <a:pt x="12" y="94"/>
                    <a:pt x="12" y="94"/>
                  </a:cubicBezTo>
                  <a:cubicBezTo>
                    <a:pt x="12" y="95"/>
                    <a:pt x="11" y="95"/>
                    <a:pt x="11" y="9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1" name="Freeform 258">
              <a:extLst>
                <a:ext uri="{FF2B5EF4-FFF2-40B4-BE49-F238E27FC236}">
                  <a16:creationId xmlns:a16="http://schemas.microsoft.com/office/drawing/2014/main" id="{3053A9B4-E757-4B0D-8721-A291D9A713D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30763" y="-2374900"/>
              <a:ext cx="171450" cy="295275"/>
            </a:xfrm>
            <a:custGeom>
              <a:avLst/>
              <a:gdLst>
                <a:gd name="T0" fmla="*/ 56 w 57"/>
                <a:gd name="T1" fmla="*/ 93 h 97"/>
                <a:gd name="T2" fmla="*/ 54 w 57"/>
                <a:gd name="T3" fmla="*/ 94 h 97"/>
                <a:gd name="T4" fmla="*/ 41 w 57"/>
                <a:gd name="T5" fmla="*/ 96 h 97"/>
                <a:gd name="T6" fmla="*/ 29 w 57"/>
                <a:gd name="T7" fmla="*/ 97 h 97"/>
                <a:gd name="T8" fmla="*/ 16 w 57"/>
                <a:gd name="T9" fmla="*/ 94 h 97"/>
                <a:gd name="T10" fmla="*/ 7 w 57"/>
                <a:gd name="T11" fmla="*/ 88 h 97"/>
                <a:gd name="T12" fmla="*/ 2 w 57"/>
                <a:gd name="T13" fmla="*/ 78 h 97"/>
                <a:gd name="T14" fmla="*/ 0 w 57"/>
                <a:gd name="T15" fmla="*/ 65 h 97"/>
                <a:gd name="T16" fmla="*/ 0 w 57"/>
                <a:gd name="T17" fmla="*/ 56 h 97"/>
                <a:gd name="T18" fmla="*/ 7 w 57"/>
                <a:gd name="T19" fmla="*/ 33 h 97"/>
                <a:gd name="T20" fmla="*/ 29 w 57"/>
                <a:gd name="T21" fmla="*/ 25 h 97"/>
                <a:gd name="T22" fmla="*/ 37 w 57"/>
                <a:gd name="T23" fmla="*/ 25 h 97"/>
                <a:gd name="T24" fmla="*/ 45 w 57"/>
                <a:gd name="T25" fmla="*/ 26 h 97"/>
                <a:gd name="T26" fmla="*/ 45 w 57"/>
                <a:gd name="T27" fmla="*/ 2 h 97"/>
                <a:gd name="T28" fmla="*/ 46 w 57"/>
                <a:gd name="T29" fmla="*/ 1 h 97"/>
                <a:gd name="T30" fmla="*/ 47 w 57"/>
                <a:gd name="T31" fmla="*/ 0 h 97"/>
                <a:gd name="T32" fmla="*/ 54 w 57"/>
                <a:gd name="T33" fmla="*/ 0 h 97"/>
                <a:gd name="T34" fmla="*/ 56 w 57"/>
                <a:gd name="T35" fmla="*/ 1 h 97"/>
                <a:gd name="T36" fmla="*/ 57 w 57"/>
                <a:gd name="T37" fmla="*/ 2 h 97"/>
                <a:gd name="T38" fmla="*/ 57 w 57"/>
                <a:gd name="T39" fmla="*/ 91 h 97"/>
                <a:gd name="T40" fmla="*/ 56 w 57"/>
                <a:gd name="T41" fmla="*/ 93 h 97"/>
                <a:gd name="T42" fmla="*/ 45 w 57"/>
                <a:gd name="T43" fmla="*/ 35 h 97"/>
                <a:gd name="T44" fmla="*/ 37 w 57"/>
                <a:gd name="T45" fmla="*/ 35 h 97"/>
                <a:gd name="T46" fmla="*/ 29 w 57"/>
                <a:gd name="T47" fmla="*/ 35 h 97"/>
                <a:gd name="T48" fmla="*/ 16 w 57"/>
                <a:gd name="T49" fmla="*/ 40 h 97"/>
                <a:gd name="T50" fmla="*/ 12 w 57"/>
                <a:gd name="T51" fmla="*/ 56 h 97"/>
                <a:gd name="T52" fmla="*/ 12 w 57"/>
                <a:gd name="T53" fmla="*/ 65 h 97"/>
                <a:gd name="T54" fmla="*/ 16 w 57"/>
                <a:gd name="T55" fmla="*/ 81 h 97"/>
                <a:gd name="T56" fmla="*/ 29 w 57"/>
                <a:gd name="T57" fmla="*/ 87 h 97"/>
                <a:gd name="T58" fmla="*/ 37 w 57"/>
                <a:gd name="T59" fmla="*/ 86 h 97"/>
                <a:gd name="T60" fmla="*/ 45 w 57"/>
                <a:gd name="T61" fmla="*/ 86 h 97"/>
                <a:gd name="T62" fmla="*/ 45 w 57"/>
                <a:gd name="T63" fmla="*/ 35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57" h="97">
                  <a:moveTo>
                    <a:pt x="56" y="93"/>
                  </a:moveTo>
                  <a:cubicBezTo>
                    <a:pt x="56" y="94"/>
                    <a:pt x="55" y="94"/>
                    <a:pt x="54" y="94"/>
                  </a:cubicBezTo>
                  <a:cubicBezTo>
                    <a:pt x="50" y="95"/>
                    <a:pt x="46" y="96"/>
                    <a:pt x="41" y="96"/>
                  </a:cubicBezTo>
                  <a:cubicBezTo>
                    <a:pt x="37" y="96"/>
                    <a:pt x="33" y="97"/>
                    <a:pt x="29" y="97"/>
                  </a:cubicBezTo>
                  <a:cubicBezTo>
                    <a:pt x="24" y="97"/>
                    <a:pt x="20" y="96"/>
                    <a:pt x="16" y="94"/>
                  </a:cubicBezTo>
                  <a:cubicBezTo>
                    <a:pt x="13" y="93"/>
                    <a:pt x="10" y="91"/>
                    <a:pt x="7" y="88"/>
                  </a:cubicBezTo>
                  <a:cubicBezTo>
                    <a:pt x="5" y="85"/>
                    <a:pt x="3" y="82"/>
                    <a:pt x="2" y="78"/>
                  </a:cubicBezTo>
                  <a:cubicBezTo>
                    <a:pt x="1" y="74"/>
                    <a:pt x="0" y="70"/>
                    <a:pt x="0" y="65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46"/>
                    <a:pt x="3" y="38"/>
                    <a:pt x="7" y="33"/>
                  </a:cubicBezTo>
                  <a:cubicBezTo>
                    <a:pt x="12" y="27"/>
                    <a:pt x="19" y="25"/>
                    <a:pt x="29" y="25"/>
                  </a:cubicBezTo>
                  <a:cubicBezTo>
                    <a:pt x="31" y="25"/>
                    <a:pt x="34" y="25"/>
                    <a:pt x="37" y="25"/>
                  </a:cubicBezTo>
                  <a:cubicBezTo>
                    <a:pt x="40" y="25"/>
                    <a:pt x="42" y="26"/>
                    <a:pt x="45" y="26"/>
                  </a:cubicBezTo>
                  <a:cubicBezTo>
                    <a:pt x="45" y="2"/>
                    <a:pt x="45" y="2"/>
                    <a:pt x="45" y="2"/>
                  </a:cubicBezTo>
                  <a:cubicBezTo>
                    <a:pt x="45" y="2"/>
                    <a:pt x="45" y="1"/>
                    <a:pt x="46" y="1"/>
                  </a:cubicBezTo>
                  <a:cubicBezTo>
                    <a:pt x="46" y="0"/>
                    <a:pt x="47" y="0"/>
                    <a:pt x="47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5" y="0"/>
                    <a:pt x="56" y="0"/>
                    <a:pt x="56" y="1"/>
                  </a:cubicBezTo>
                  <a:cubicBezTo>
                    <a:pt x="56" y="1"/>
                    <a:pt x="57" y="2"/>
                    <a:pt x="57" y="2"/>
                  </a:cubicBezTo>
                  <a:cubicBezTo>
                    <a:pt x="57" y="91"/>
                    <a:pt x="57" y="91"/>
                    <a:pt x="57" y="91"/>
                  </a:cubicBezTo>
                  <a:cubicBezTo>
                    <a:pt x="57" y="92"/>
                    <a:pt x="57" y="93"/>
                    <a:pt x="56" y="93"/>
                  </a:cubicBezTo>
                  <a:close/>
                  <a:moveTo>
                    <a:pt x="45" y="35"/>
                  </a:moveTo>
                  <a:cubicBezTo>
                    <a:pt x="43" y="35"/>
                    <a:pt x="40" y="35"/>
                    <a:pt x="37" y="35"/>
                  </a:cubicBezTo>
                  <a:cubicBezTo>
                    <a:pt x="34" y="35"/>
                    <a:pt x="31" y="35"/>
                    <a:pt x="29" y="35"/>
                  </a:cubicBezTo>
                  <a:cubicBezTo>
                    <a:pt x="23" y="35"/>
                    <a:pt x="18" y="36"/>
                    <a:pt x="16" y="40"/>
                  </a:cubicBezTo>
                  <a:cubicBezTo>
                    <a:pt x="13" y="44"/>
                    <a:pt x="12" y="49"/>
                    <a:pt x="12" y="56"/>
                  </a:cubicBezTo>
                  <a:cubicBezTo>
                    <a:pt x="12" y="65"/>
                    <a:pt x="12" y="65"/>
                    <a:pt x="12" y="65"/>
                  </a:cubicBezTo>
                  <a:cubicBezTo>
                    <a:pt x="12" y="72"/>
                    <a:pt x="13" y="77"/>
                    <a:pt x="16" y="81"/>
                  </a:cubicBezTo>
                  <a:cubicBezTo>
                    <a:pt x="18" y="85"/>
                    <a:pt x="23" y="87"/>
                    <a:pt x="29" y="87"/>
                  </a:cubicBezTo>
                  <a:cubicBezTo>
                    <a:pt x="32" y="87"/>
                    <a:pt x="34" y="87"/>
                    <a:pt x="37" y="86"/>
                  </a:cubicBezTo>
                  <a:cubicBezTo>
                    <a:pt x="40" y="86"/>
                    <a:pt x="43" y="86"/>
                    <a:pt x="45" y="86"/>
                  </a:cubicBezTo>
                  <a:lnTo>
                    <a:pt x="45" y="3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2" name="Freeform 259">
              <a:extLst>
                <a:ext uri="{FF2B5EF4-FFF2-40B4-BE49-F238E27FC236}">
                  <a16:creationId xmlns:a16="http://schemas.microsoft.com/office/drawing/2014/main" id="{AB57744B-1BC2-4D8C-92C6-F9D0C7C6E94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46663" y="-2298700"/>
              <a:ext cx="180975" cy="219075"/>
            </a:xfrm>
            <a:custGeom>
              <a:avLst/>
              <a:gdLst>
                <a:gd name="T0" fmla="*/ 57 w 60"/>
                <a:gd name="T1" fmla="*/ 39 h 72"/>
                <a:gd name="T2" fmla="*/ 12 w 60"/>
                <a:gd name="T3" fmla="*/ 39 h 72"/>
                <a:gd name="T4" fmla="*/ 12 w 60"/>
                <a:gd name="T5" fmla="*/ 41 h 72"/>
                <a:gd name="T6" fmla="*/ 17 w 60"/>
                <a:gd name="T7" fmla="*/ 57 h 72"/>
                <a:gd name="T8" fmla="*/ 31 w 60"/>
                <a:gd name="T9" fmla="*/ 62 h 72"/>
                <a:gd name="T10" fmla="*/ 43 w 60"/>
                <a:gd name="T11" fmla="*/ 61 h 72"/>
                <a:gd name="T12" fmla="*/ 55 w 60"/>
                <a:gd name="T13" fmla="*/ 60 h 72"/>
                <a:gd name="T14" fmla="*/ 55 w 60"/>
                <a:gd name="T15" fmla="*/ 60 h 72"/>
                <a:gd name="T16" fmla="*/ 57 w 60"/>
                <a:gd name="T17" fmla="*/ 61 h 72"/>
                <a:gd name="T18" fmla="*/ 57 w 60"/>
                <a:gd name="T19" fmla="*/ 62 h 72"/>
                <a:gd name="T20" fmla="*/ 57 w 60"/>
                <a:gd name="T21" fmla="*/ 66 h 72"/>
                <a:gd name="T22" fmla="*/ 57 w 60"/>
                <a:gd name="T23" fmla="*/ 68 h 72"/>
                <a:gd name="T24" fmla="*/ 55 w 60"/>
                <a:gd name="T25" fmla="*/ 69 h 72"/>
                <a:gd name="T26" fmla="*/ 43 w 60"/>
                <a:gd name="T27" fmla="*/ 71 h 72"/>
                <a:gd name="T28" fmla="*/ 31 w 60"/>
                <a:gd name="T29" fmla="*/ 72 h 72"/>
                <a:gd name="T30" fmla="*/ 20 w 60"/>
                <a:gd name="T31" fmla="*/ 70 h 72"/>
                <a:gd name="T32" fmla="*/ 10 w 60"/>
                <a:gd name="T33" fmla="*/ 65 h 72"/>
                <a:gd name="T34" fmla="*/ 3 w 60"/>
                <a:gd name="T35" fmla="*/ 56 h 72"/>
                <a:gd name="T36" fmla="*/ 0 w 60"/>
                <a:gd name="T37" fmla="*/ 41 h 72"/>
                <a:gd name="T38" fmla="*/ 0 w 60"/>
                <a:gd name="T39" fmla="*/ 29 h 72"/>
                <a:gd name="T40" fmla="*/ 8 w 60"/>
                <a:gd name="T41" fmla="*/ 8 h 72"/>
                <a:gd name="T42" fmla="*/ 30 w 60"/>
                <a:gd name="T43" fmla="*/ 0 h 72"/>
                <a:gd name="T44" fmla="*/ 43 w 60"/>
                <a:gd name="T45" fmla="*/ 2 h 72"/>
                <a:gd name="T46" fmla="*/ 52 w 60"/>
                <a:gd name="T47" fmla="*/ 8 h 72"/>
                <a:gd name="T48" fmla="*/ 58 w 60"/>
                <a:gd name="T49" fmla="*/ 17 h 72"/>
                <a:gd name="T50" fmla="*/ 60 w 60"/>
                <a:gd name="T51" fmla="*/ 29 h 72"/>
                <a:gd name="T52" fmla="*/ 60 w 60"/>
                <a:gd name="T53" fmla="*/ 36 h 72"/>
                <a:gd name="T54" fmla="*/ 57 w 60"/>
                <a:gd name="T55" fmla="*/ 39 h 72"/>
                <a:gd name="T56" fmla="*/ 48 w 60"/>
                <a:gd name="T57" fmla="*/ 29 h 72"/>
                <a:gd name="T58" fmla="*/ 43 w 60"/>
                <a:gd name="T59" fmla="*/ 14 h 72"/>
                <a:gd name="T60" fmla="*/ 30 w 60"/>
                <a:gd name="T61" fmla="*/ 10 h 72"/>
                <a:gd name="T62" fmla="*/ 17 w 60"/>
                <a:gd name="T63" fmla="*/ 14 h 72"/>
                <a:gd name="T64" fmla="*/ 12 w 60"/>
                <a:gd name="T65" fmla="*/ 29 h 72"/>
                <a:gd name="T66" fmla="*/ 12 w 60"/>
                <a:gd name="T67" fmla="*/ 31 h 72"/>
                <a:gd name="T68" fmla="*/ 48 w 60"/>
                <a:gd name="T69" fmla="*/ 31 h 72"/>
                <a:gd name="T70" fmla="*/ 48 w 60"/>
                <a:gd name="T71" fmla="*/ 29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60" h="72">
                  <a:moveTo>
                    <a:pt x="57" y="39"/>
                  </a:moveTo>
                  <a:cubicBezTo>
                    <a:pt x="12" y="39"/>
                    <a:pt x="12" y="39"/>
                    <a:pt x="12" y="39"/>
                  </a:cubicBezTo>
                  <a:cubicBezTo>
                    <a:pt x="12" y="41"/>
                    <a:pt x="12" y="41"/>
                    <a:pt x="12" y="41"/>
                  </a:cubicBezTo>
                  <a:cubicBezTo>
                    <a:pt x="12" y="49"/>
                    <a:pt x="14" y="54"/>
                    <a:pt x="17" y="57"/>
                  </a:cubicBezTo>
                  <a:cubicBezTo>
                    <a:pt x="20" y="60"/>
                    <a:pt x="25" y="62"/>
                    <a:pt x="31" y="62"/>
                  </a:cubicBezTo>
                  <a:cubicBezTo>
                    <a:pt x="35" y="62"/>
                    <a:pt x="39" y="62"/>
                    <a:pt x="43" y="61"/>
                  </a:cubicBezTo>
                  <a:cubicBezTo>
                    <a:pt x="48" y="61"/>
                    <a:pt x="51" y="61"/>
                    <a:pt x="55" y="60"/>
                  </a:cubicBezTo>
                  <a:cubicBezTo>
                    <a:pt x="55" y="60"/>
                    <a:pt x="55" y="60"/>
                    <a:pt x="55" y="60"/>
                  </a:cubicBezTo>
                  <a:cubicBezTo>
                    <a:pt x="56" y="60"/>
                    <a:pt x="56" y="60"/>
                    <a:pt x="57" y="61"/>
                  </a:cubicBezTo>
                  <a:cubicBezTo>
                    <a:pt x="57" y="61"/>
                    <a:pt x="57" y="61"/>
                    <a:pt x="57" y="62"/>
                  </a:cubicBezTo>
                  <a:cubicBezTo>
                    <a:pt x="57" y="66"/>
                    <a:pt x="57" y="66"/>
                    <a:pt x="57" y="66"/>
                  </a:cubicBezTo>
                  <a:cubicBezTo>
                    <a:pt x="57" y="67"/>
                    <a:pt x="57" y="68"/>
                    <a:pt x="57" y="68"/>
                  </a:cubicBezTo>
                  <a:cubicBezTo>
                    <a:pt x="56" y="69"/>
                    <a:pt x="56" y="69"/>
                    <a:pt x="55" y="69"/>
                  </a:cubicBezTo>
                  <a:cubicBezTo>
                    <a:pt x="51" y="70"/>
                    <a:pt x="47" y="71"/>
                    <a:pt x="43" y="71"/>
                  </a:cubicBezTo>
                  <a:cubicBezTo>
                    <a:pt x="39" y="71"/>
                    <a:pt x="35" y="72"/>
                    <a:pt x="31" y="72"/>
                  </a:cubicBezTo>
                  <a:cubicBezTo>
                    <a:pt x="27" y="72"/>
                    <a:pt x="23" y="71"/>
                    <a:pt x="20" y="70"/>
                  </a:cubicBezTo>
                  <a:cubicBezTo>
                    <a:pt x="16" y="69"/>
                    <a:pt x="13" y="67"/>
                    <a:pt x="10" y="65"/>
                  </a:cubicBezTo>
                  <a:cubicBezTo>
                    <a:pt x="7" y="63"/>
                    <a:pt x="5" y="60"/>
                    <a:pt x="3" y="56"/>
                  </a:cubicBezTo>
                  <a:cubicBezTo>
                    <a:pt x="1" y="52"/>
                    <a:pt x="0" y="47"/>
                    <a:pt x="0" y="41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20"/>
                    <a:pt x="3" y="13"/>
                    <a:pt x="8" y="8"/>
                  </a:cubicBezTo>
                  <a:cubicBezTo>
                    <a:pt x="13" y="2"/>
                    <a:pt x="20" y="0"/>
                    <a:pt x="30" y="0"/>
                  </a:cubicBezTo>
                  <a:cubicBezTo>
                    <a:pt x="35" y="0"/>
                    <a:pt x="39" y="0"/>
                    <a:pt x="43" y="2"/>
                  </a:cubicBezTo>
                  <a:cubicBezTo>
                    <a:pt x="47" y="3"/>
                    <a:pt x="50" y="5"/>
                    <a:pt x="52" y="8"/>
                  </a:cubicBezTo>
                  <a:cubicBezTo>
                    <a:pt x="55" y="10"/>
                    <a:pt x="56" y="14"/>
                    <a:pt x="58" y="17"/>
                  </a:cubicBezTo>
                  <a:cubicBezTo>
                    <a:pt x="59" y="21"/>
                    <a:pt x="60" y="25"/>
                    <a:pt x="60" y="29"/>
                  </a:cubicBezTo>
                  <a:cubicBezTo>
                    <a:pt x="60" y="36"/>
                    <a:pt x="60" y="36"/>
                    <a:pt x="60" y="36"/>
                  </a:cubicBezTo>
                  <a:cubicBezTo>
                    <a:pt x="60" y="38"/>
                    <a:pt x="59" y="39"/>
                    <a:pt x="57" y="39"/>
                  </a:cubicBezTo>
                  <a:close/>
                  <a:moveTo>
                    <a:pt x="48" y="29"/>
                  </a:moveTo>
                  <a:cubicBezTo>
                    <a:pt x="48" y="22"/>
                    <a:pt x="46" y="17"/>
                    <a:pt x="43" y="14"/>
                  </a:cubicBezTo>
                  <a:cubicBezTo>
                    <a:pt x="40" y="11"/>
                    <a:pt x="36" y="10"/>
                    <a:pt x="30" y="10"/>
                  </a:cubicBezTo>
                  <a:cubicBezTo>
                    <a:pt x="24" y="10"/>
                    <a:pt x="20" y="11"/>
                    <a:pt x="17" y="14"/>
                  </a:cubicBezTo>
                  <a:cubicBezTo>
                    <a:pt x="14" y="18"/>
                    <a:pt x="12" y="23"/>
                    <a:pt x="12" y="29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48" y="31"/>
                    <a:pt x="48" y="31"/>
                    <a:pt x="48" y="31"/>
                  </a:cubicBezTo>
                  <a:lnTo>
                    <a:pt x="48" y="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3" name="Freeform 260">
              <a:extLst>
                <a:ext uri="{FF2B5EF4-FFF2-40B4-BE49-F238E27FC236}">
                  <a16:creationId xmlns:a16="http://schemas.microsoft.com/office/drawing/2014/main" id="{141BCB33-DD14-4558-B5A9-340C860D3DAB}"/>
                </a:ext>
              </a:extLst>
            </p:cNvPr>
            <p:cNvSpPr>
              <a:spLocks/>
            </p:cNvSpPr>
            <p:nvPr/>
          </p:nvSpPr>
          <p:spPr bwMode="auto">
            <a:xfrm>
              <a:off x="5265738" y="-2298700"/>
              <a:ext cx="147637" cy="219075"/>
            </a:xfrm>
            <a:custGeom>
              <a:avLst/>
              <a:gdLst>
                <a:gd name="T0" fmla="*/ 49 w 49"/>
                <a:gd name="T1" fmla="*/ 53 h 72"/>
                <a:gd name="T2" fmla="*/ 42 w 49"/>
                <a:gd name="T3" fmla="*/ 67 h 72"/>
                <a:gd name="T4" fmla="*/ 24 w 49"/>
                <a:gd name="T5" fmla="*/ 72 h 72"/>
                <a:gd name="T6" fmla="*/ 20 w 49"/>
                <a:gd name="T7" fmla="*/ 71 h 72"/>
                <a:gd name="T8" fmla="*/ 14 w 49"/>
                <a:gd name="T9" fmla="*/ 71 h 72"/>
                <a:gd name="T10" fmla="*/ 8 w 49"/>
                <a:gd name="T11" fmla="*/ 70 h 72"/>
                <a:gd name="T12" fmla="*/ 3 w 49"/>
                <a:gd name="T13" fmla="*/ 70 h 72"/>
                <a:gd name="T14" fmla="*/ 0 w 49"/>
                <a:gd name="T15" fmla="*/ 67 h 72"/>
                <a:gd name="T16" fmla="*/ 0 w 49"/>
                <a:gd name="T17" fmla="*/ 63 h 72"/>
                <a:gd name="T18" fmla="*/ 1 w 49"/>
                <a:gd name="T19" fmla="*/ 61 h 72"/>
                <a:gd name="T20" fmla="*/ 3 w 49"/>
                <a:gd name="T21" fmla="*/ 61 h 72"/>
                <a:gd name="T22" fmla="*/ 3 w 49"/>
                <a:gd name="T23" fmla="*/ 61 h 72"/>
                <a:gd name="T24" fmla="*/ 8 w 49"/>
                <a:gd name="T25" fmla="*/ 61 h 72"/>
                <a:gd name="T26" fmla="*/ 14 w 49"/>
                <a:gd name="T27" fmla="*/ 62 h 72"/>
                <a:gd name="T28" fmla="*/ 20 w 49"/>
                <a:gd name="T29" fmla="*/ 62 h 72"/>
                <a:gd name="T30" fmla="*/ 24 w 49"/>
                <a:gd name="T31" fmla="*/ 62 h 72"/>
                <a:gd name="T32" fmla="*/ 34 w 49"/>
                <a:gd name="T33" fmla="*/ 60 h 72"/>
                <a:gd name="T34" fmla="*/ 37 w 49"/>
                <a:gd name="T35" fmla="*/ 53 h 72"/>
                <a:gd name="T36" fmla="*/ 35 w 49"/>
                <a:gd name="T37" fmla="*/ 48 h 72"/>
                <a:gd name="T38" fmla="*/ 27 w 49"/>
                <a:gd name="T39" fmla="*/ 42 h 72"/>
                <a:gd name="T40" fmla="*/ 14 w 49"/>
                <a:gd name="T41" fmla="*/ 35 h 72"/>
                <a:gd name="T42" fmla="*/ 4 w 49"/>
                <a:gd name="T43" fmla="*/ 27 h 72"/>
                <a:gd name="T44" fmla="*/ 0 w 49"/>
                <a:gd name="T45" fmla="*/ 17 h 72"/>
                <a:gd name="T46" fmla="*/ 2 w 49"/>
                <a:gd name="T47" fmla="*/ 8 h 72"/>
                <a:gd name="T48" fmla="*/ 7 w 49"/>
                <a:gd name="T49" fmla="*/ 3 h 72"/>
                <a:gd name="T50" fmla="*/ 15 w 49"/>
                <a:gd name="T51" fmla="*/ 0 h 72"/>
                <a:gd name="T52" fmla="*/ 24 w 49"/>
                <a:gd name="T53" fmla="*/ 0 h 72"/>
                <a:gd name="T54" fmla="*/ 35 w 49"/>
                <a:gd name="T55" fmla="*/ 0 h 72"/>
                <a:gd name="T56" fmla="*/ 45 w 49"/>
                <a:gd name="T57" fmla="*/ 1 h 72"/>
                <a:gd name="T58" fmla="*/ 48 w 49"/>
                <a:gd name="T59" fmla="*/ 4 h 72"/>
                <a:gd name="T60" fmla="*/ 48 w 49"/>
                <a:gd name="T61" fmla="*/ 8 h 72"/>
                <a:gd name="T62" fmla="*/ 45 w 49"/>
                <a:gd name="T63" fmla="*/ 10 h 72"/>
                <a:gd name="T64" fmla="*/ 45 w 49"/>
                <a:gd name="T65" fmla="*/ 10 h 72"/>
                <a:gd name="T66" fmla="*/ 36 w 49"/>
                <a:gd name="T67" fmla="*/ 10 h 72"/>
                <a:gd name="T68" fmla="*/ 24 w 49"/>
                <a:gd name="T69" fmla="*/ 9 h 72"/>
                <a:gd name="T70" fmla="*/ 15 w 49"/>
                <a:gd name="T71" fmla="*/ 11 h 72"/>
                <a:gd name="T72" fmla="*/ 12 w 49"/>
                <a:gd name="T73" fmla="*/ 17 h 72"/>
                <a:gd name="T74" fmla="*/ 14 w 49"/>
                <a:gd name="T75" fmla="*/ 22 h 72"/>
                <a:gd name="T76" fmla="*/ 21 w 49"/>
                <a:gd name="T77" fmla="*/ 26 h 72"/>
                <a:gd name="T78" fmla="*/ 34 w 49"/>
                <a:gd name="T79" fmla="*/ 34 h 72"/>
                <a:gd name="T80" fmla="*/ 46 w 49"/>
                <a:gd name="T81" fmla="*/ 43 h 72"/>
                <a:gd name="T82" fmla="*/ 49 w 49"/>
                <a:gd name="T83" fmla="*/ 53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9" h="72">
                  <a:moveTo>
                    <a:pt x="49" y="53"/>
                  </a:moveTo>
                  <a:cubicBezTo>
                    <a:pt x="49" y="59"/>
                    <a:pt x="47" y="64"/>
                    <a:pt x="42" y="67"/>
                  </a:cubicBezTo>
                  <a:cubicBezTo>
                    <a:pt x="38" y="70"/>
                    <a:pt x="32" y="72"/>
                    <a:pt x="24" y="72"/>
                  </a:cubicBezTo>
                  <a:cubicBezTo>
                    <a:pt x="23" y="72"/>
                    <a:pt x="21" y="71"/>
                    <a:pt x="20" y="71"/>
                  </a:cubicBezTo>
                  <a:cubicBezTo>
                    <a:pt x="18" y="71"/>
                    <a:pt x="16" y="71"/>
                    <a:pt x="14" y="71"/>
                  </a:cubicBezTo>
                  <a:cubicBezTo>
                    <a:pt x="12" y="71"/>
                    <a:pt x="10" y="71"/>
                    <a:pt x="8" y="70"/>
                  </a:cubicBezTo>
                  <a:cubicBezTo>
                    <a:pt x="6" y="70"/>
                    <a:pt x="5" y="70"/>
                    <a:pt x="3" y="70"/>
                  </a:cubicBezTo>
                  <a:cubicBezTo>
                    <a:pt x="1" y="69"/>
                    <a:pt x="0" y="68"/>
                    <a:pt x="0" y="67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0" y="62"/>
                    <a:pt x="0" y="62"/>
                    <a:pt x="1" y="61"/>
                  </a:cubicBezTo>
                  <a:cubicBezTo>
                    <a:pt x="1" y="61"/>
                    <a:pt x="2" y="61"/>
                    <a:pt x="3" y="61"/>
                  </a:cubicBezTo>
                  <a:cubicBezTo>
                    <a:pt x="3" y="61"/>
                    <a:pt x="3" y="61"/>
                    <a:pt x="3" y="61"/>
                  </a:cubicBezTo>
                  <a:cubicBezTo>
                    <a:pt x="5" y="61"/>
                    <a:pt x="6" y="61"/>
                    <a:pt x="8" y="61"/>
                  </a:cubicBezTo>
                  <a:cubicBezTo>
                    <a:pt x="10" y="61"/>
                    <a:pt x="12" y="62"/>
                    <a:pt x="14" y="62"/>
                  </a:cubicBezTo>
                  <a:cubicBezTo>
                    <a:pt x="16" y="62"/>
                    <a:pt x="18" y="62"/>
                    <a:pt x="20" y="62"/>
                  </a:cubicBezTo>
                  <a:cubicBezTo>
                    <a:pt x="21" y="62"/>
                    <a:pt x="23" y="62"/>
                    <a:pt x="24" y="62"/>
                  </a:cubicBezTo>
                  <a:cubicBezTo>
                    <a:pt x="28" y="62"/>
                    <a:pt x="32" y="61"/>
                    <a:pt x="34" y="60"/>
                  </a:cubicBezTo>
                  <a:cubicBezTo>
                    <a:pt x="36" y="59"/>
                    <a:pt x="37" y="57"/>
                    <a:pt x="37" y="53"/>
                  </a:cubicBezTo>
                  <a:cubicBezTo>
                    <a:pt x="37" y="51"/>
                    <a:pt x="37" y="49"/>
                    <a:pt x="35" y="48"/>
                  </a:cubicBezTo>
                  <a:cubicBezTo>
                    <a:pt x="34" y="47"/>
                    <a:pt x="31" y="45"/>
                    <a:pt x="27" y="42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0" y="32"/>
                    <a:pt x="6" y="30"/>
                    <a:pt x="4" y="27"/>
                  </a:cubicBezTo>
                  <a:cubicBezTo>
                    <a:pt x="1" y="24"/>
                    <a:pt x="0" y="21"/>
                    <a:pt x="0" y="17"/>
                  </a:cubicBezTo>
                  <a:cubicBezTo>
                    <a:pt x="0" y="13"/>
                    <a:pt x="1" y="11"/>
                    <a:pt x="2" y="8"/>
                  </a:cubicBezTo>
                  <a:cubicBezTo>
                    <a:pt x="3" y="6"/>
                    <a:pt x="5" y="5"/>
                    <a:pt x="7" y="3"/>
                  </a:cubicBezTo>
                  <a:cubicBezTo>
                    <a:pt x="9" y="2"/>
                    <a:pt x="12" y="1"/>
                    <a:pt x="15" y="0"/>
                  </a:cubicBezTo>
                  <a:cubicBezTo>
                    <a:pt x="18" y="0"/>
                    <a:pt x="21" y="0"/>
                    <a:pt x="24" y="0"/>
                  </a:cubicBezTo>
                  <a:cubicBezTo>
                    <a:pt x="28" y="0"/>
                    <a:pt x="32" y="0"/>
                    <a:pt x="35" y="0"/>
                  </a:cubicBezTo>
                  <a:cubicBezTo>
                    <a:pt x="39" y="0"/>
                    <a:pt x="42" y="1"/>
                    <a:pt x="45" y="1"/>
                  </a:cubicBezTo>
                  <a:cubicBezTo>
                    <a:pt x="47" y="2"/>
                    <a:pt x="48" y="2"/>
                    <a:pt x="48" y="4"/>
                  </a:cubicBezTo>
                  <a:cubicBezTo>
                    <a:pt x="48" y="8"/>
                    <a:pt x="48" y="8"/>
                    <a:pt x="48" y="8"/>
                  </a:cubicBezTo>
                  <a:cubicBezTo>
                    <a:pt x="48" y="10"/>
                    <a:pt x="47" y="10"/>
                    <a:pt x="45" y="10"/>
                  </a:cubicBezTo>
                  <a:cubicBezTo>
                    <a:pt x="45" y="10"/>
                    <a:pt x="45" y="10"/>
                    <a:pt x="45" y="10"/>
                  </a:cubicBezTo>
                  <a:cubicBezTo>
                    <a:pt x="43" y="10"/>
                    <a:pt x="40" y="10"/>
                    <a:pt x="36" y="10"/>
                  </a:cubicBezTo>
                  <a:cubicBezTo>
                    <a:pt x="32" y="9"/>
                    <a:pt x="28" y="9"/>
                    <a:pt x="24" y="9"/>
                  </a:cubicBezTo>
                  <a:cubicBezTo>
                    <a:pt x="21" y="9"/>
                    <a:pt x="18" y="10"/>
                    <a:pt x="15" y="11"/>
                  </a:cubicBezTo>
                  <a:cubicBezTo>
                    <a:pt x="13" y="11"/>
                    <a:pt x="12" y="13"/>
                    <a:pt x="12" y="17"/>
                  </a:cubicBezTo>
                  <a:cubicBezTo>
                    <a:pt x="12" y="19"/>
                    <a:pt x="13" y="20"/>
                    <a:pt x="14" y="22"/>
                  </a:cubicBezTo>
                  <a:cubicBezTo>
                    <a:pt x="16" y="23"/>
                    <a:pt x="18" y="25"/>
                    <a:pt x="21" y="26"/>
                  </a:cubicBezTo>
                  <a:cubicBezTo>
                    <a:pt x="34" y="34"/>
                    <a:pt x="34" y="34"/>
                    <a:pt x="34" y="34"/>
                  </a:cubicBezTo>
                  <a:cubicBezTo>
                    <a:pt x="40" y="37"/>
                    <a:pt x="44" y="40"/>
                    <a:pt x="46" y="43"/>
                  </a:cubicBezTo>
                  <a:cubicBezTo>
                    <a:pt x="48" y="46"/>
                    <a:pt x="49" y="49"/>
                    <a:pt x="49" y="5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4" name="Rectangle 261">
              <a:extLst>
                <a:ext uri="{FF2B5EF4-FFF2-40B4-BE49-F238E27FC236}">
                  <a16:creationId xmlns:a16="http://schemas.microsoft.com/office/drawing/2014/main" id="{7D5DADA4-8E5D-41C3-BA31-B6628054272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10075" y="-2116138"/>
              <a:ext cx="165100" cy="333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5" name="Freeform 262">
              <a:extLst>
                <a:ext uri="{FF2B5EF4-FFF2-40B4-BE49-F238E27FC236}">
                  <a16:creationId xmlns:a16="http://schemas.microsoft.com/office/drawing/2014/main" id="{879E09DE-5F13-4BB6-88CF-074BC7521AB5}"/>
                </a:ext>
              </a:extLst>
            </p:cNvPr>
            <p:cNvSpPr>
              <a:spLocks/>
            </p:cNvSpPr>
            <p:nvPr/>
          </p:nvSpPr>
          <p:spPr bwMode="auto">
            <a:xfrm>
              <a:off x="4419600" y="-2374900"/>
              <a:ext cx="168275" cy="292100"/>
            </a:xfrm>
            <a:custGeom>
              <a:avLst/>
              <a:gdLst>
                <a:gd name="T0" fmla="*/ 7 w 56"/>
                <a:gd name="T1" fmla="*/ 5 h 96"/>
                <a:gd name="T2" fmla="*/ 30 w 56"/>
                <a:gd name="T3" fmla="*/ 0 h 96"/>
                <a:gd name="T4" fmla="*/ 41 w 56"/>
                <a:gd name="T5" fmla="*/ 0 h 96"/>
                <a:gd name="T6" fmla="*/ 52 w 56"/>
                <a:gd name="T7" fmla="*/ 2 h 96"/>
                <a:gd name="T8" fmla="*/ 54 w 56"/>
                <a:gd name="T9" fmla="*/ 3 h 96"/>
                <a:gd name="T10" fmla="*/ 54 w 56"/>
                <a:gd name="T11" fmla="*/ 5 h 96"/>
                <a:gd name="T12" fmla="*/ 54 w 56"/>
                <a:gd name="T13" fmla="*/ 9 h 96"/>
                <a:gd name="T14" fmla="*/ 52 w 56"/>
                <a:gd name="T15" fmla="*/ 12 h 96"/>
                <a:gd name="T16" fmla="*/ 52 w 56"/>
                <a:gd name="T17" fmla="*/ 12 h 96"/>
                <a:gd name="T18" fmla="*/ 41 w 56"/>
                <a:gd name="T19" fmla="*/ 10 h 96"/>
                <a:gd name="T20" fmla="*/ 30 w 56"/>
                <a:gd name="T21" fmla="*/ 10 h 96"/>
                <a:gd name="T22" fmla="*/ 15 w 56"/>
                <a:gd name="T23" fmla="*/ 13 h 96"/>
                <a:gd name="T24" fmla="*/ 11 w 56"/>
                <a:gd name="T25" fmla="*/ 23 h 96"/>
                <a:gd name="T26" fmla="*/ 11 w 56"/>
                <a:gd name="T27" fmla="*/ 28 h 96"/>
                <a:gd name="T28" fmla="*/ 13 w 56"/>
                <a:gd name="T29" fmla="*/ 32 h 96"/>
                <a:gd name="T30" fmla="*/ 17 w 56"/>
                <a:gd name="T31" fmla="*/ 36 h 96"/>
                <a:gd name="T32" fmla="*/ 24 w 56"/>
                <a:gd name="T33" fmla="*/ 41 h 96"/>
                <a:gd name="T34" fmla="*/ 36 w 56"/>
                <a:gd name="T35" fmla="*/ 49 h 96"/>
                <a:gd name="T36" fmla="*/ 51 w 56"/>
                <a:gd name="T37" fmla="*/ 65 h 96"/>
                <a:gd name="T38" fmla="*/ 56 w 56"/>
                <a:gd name="T39" fmla="*/ 83 h 96"/>
                <a:gd name="T40" fmla="*/ 56 w 56"/>
                <a:gd name="T41" fmla="*/ 93 h 96"/>
                <a:gd name="T42" fmla="*/ 55 w 56"/>
                <a:gd name="T43" fmla="*/ 95 h 96"/>
                <a:gd name="T44" fmla="*/ 53 w 56"/>
                <a:gd name="T45" fmla="*/ 96 h 96"/>
                <a:gd name="T46" fmla="*/ 3 w 56"/>
                <a:gd name="T47" fmla="*/ 96 h 96"/>
                <a:gd name="T48" fmla="*/ 2 w 56"/>
                <a:gd name="T49" fmla="*/ 95 h 96"/>
                <a:gd name="T50" fmla="*/ 1 w 56"/>
                <a:gd name="T51" fmla="*/ 93 h 96"/>
                <a:gd name="T52" fmla="*/ 1 w 56"/>
                <a:gd name="T53" fmla="*/ 88 h 96"/>
                <a:gd name="T54" fmla="*/ 2 w 56"/>
                <a:gd name="T55" fmla="*/ 86 h 96"/>
                <a:gd name="T56" fmla="*/ 3 w 56"/>
                <a:gd name="T57" fmla="*/ 85 h 96"/>
                <a:gd name="T58" fmla="*/ 46 w 56"/>
                <a:gd name="T59" fmla="*/ 85 h 96"/>
                <a:gd name="T60" fmla="*/ 46 w 56"/>
                <a:gd name="T61" fmla="*/ 83 h 96"/>
                <a:gd name="T62" fmla="*/ 45 w 56"/>
                <a:gd name="T63" fmla="*/ 75 h 96"/>
                <a:gd name="T64" fmla="*/ 42 w 56"/>
                <a:gd name="T65" fmla="*/ 69 h 96"/>
                <a:gd name="T66" fmla="*/ 37 w 56"/>
                <a:gd name="T67" fmla="*/ 62 h 96"/>
                <a:gd name="T68" fmla="*/ 28 w 56"/>
                <a:gd name="T69" fmla="*/ 56 h 96"/>
                <a:gd name="T70" fmla="*/ 16 w 56"/>
                <a:gd name="T71" fmla="*/ 47 h 96"/>
                <a:gd name="T72" fmla="*/ 3 w 56"/>
                <a:gd name="T73" fmla="*/ 36 h 96"/>
                <a:gd name="T74" fmla="*/ 0 w 56"/>
                <a:gd name="T75" fmla="*/ 23 h 96"/>
                <a:gd name="T76" fmla="*/ 7 w 56"/>
                <a:gd name="T77" fmla="*/ 5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56" h="96">
                  <a:moveTo>
                    <a:pt x="7" y="5"/>
                  </a:moveTo>
                  <a:cubicBezTo>
                    <a:pt x="12" y="2"/>
                    <a:pt x="19" y="0"/>
                    <a:pt x="30" y="0"/>
                  </a:cubicBezTo>
                  <a:cubicBezTo>
                    <a:pt x="33" y="0"/>
                    <a:pt x="37" y="0"/>
                    <a:pt x="41" y="0"/>
                  </a:cubicBezTo>
                  <a:cubicBezTo>
                    <a:pt x="45" y="1"/>
                    <a:pt x="49" y="1"/>
                    <a:pt x="52" y="2"/>
                  </a:cubicBezTo>
                  <a:cubicBezTo>
                    <a:pt x="53" y="3"/>
                    <a:pt x="53" y="3"/>
                    <a:pt x="54" y="3"/>
                  </a:cubicBezTo>
                  <a:cubicBezTo>
                    <a:pt x="54" y="3"/>
                    <a:pt x="54" y="4"/>
                    <a:pt x="54" y="5"/>
                  </a:cubicBezTo>
                  <a:cubicBezTo>
                    <a:pt x="54" y="9"/>
                    <a:pt x="54" y="9"/>
                    <a:pt x="54" y="9"/>
                  </a:cubicBezTo>
                  <a:cubicBezTo>
                    <a:pt x="54" y="11"/>
                    <a:pt x="54" y="12"/>
                    <a:pt x="52" y="12"/>
                  </a:cubicBezTo>
                  <a:cubicBezTo>
                    <a:pt x="52" y="12"/>
                    <a:pt x="52" y="12"/>
                    <a:pt x="52" y="12"/>
                  </a:cubicBezTo>
                  <a:cubicBezTo>
                    <a:pt x="48" y="11"/>
                    <a:pt x="45" y="11"/>
                    <a:pt x="41" y="10"/>
                  </a:cubicBezTo>
                  <a:cubicBezTo>
                    <a:pt x="37" y="10"/>
                    <a:pt x="33" y="10"/>
                    <a:pt x="30" y="10"/>
                  </a:cubicBezTo>
                  <a:cubicBezTo>
                    <a:pt x="23" y="10"/>
                    <a:pt x="18" y="11"/>
                    <a:pt x="15" y="13"/>
                  </a:cubicBezTo>
                  <a:cubicBezTo>
                    <a:pt x="12" y="15"/>
                    <a:pt x="11" y="18"/>
                    <a:pt x="11" y="23"/>
                  </a:cubicBezTo>
                  <a:cubicBezTo>
                    <a:pt x="11" y="25"/>
                    <a:pt x="11" y="26"/>
                    <a:pt x="11" y="28"/>
                  </a:cubicBezTo>
                  <a:cubicBezTo>
                    <a:pt x="12" y="29"/>
                    <a:pt x="12" y="31"/>
                    <a:pt x="13" y="32"/>
                  </a:cubicBezTo>
                  <a:cubicBezTo>
                    <a:pt x="14" y="33"/>
                    <a:pt x="16" y="35"/>
                    <a:pt x="17" y="36"/>
                  </a:cubicBezTo>
                  <a:cubicBezTo>
                    <a:pt x="19" y="37"/>
                    <a:pt x="21" y="39"/>
                    <a:pt x="24" y="41"/>
                  </a:cubicBezTo>
                  <a:cubicBezTo>
                    <a:pt x="36" y="49"/>
                    <a:pt x="36" y="49"/>
                    <a:pt x="36" y="49"/>
                  </a:cubicBezTo>
                  <a:cubicBezTo>
                    <a:pt x="43" y="54"/>
                    <a:pt x="48" y="59"/>
                    <a:pt x="51" y="65"/>
                  </a:cubicBezTo>
                  <a:cubicBezTo>
                    <a:pt x="54" y="70"/>
                    <a:pt x="56" y="76"/>
                    <a:pt x="56" y="83"/>
                  </a:cubicBezTo>
                  <a:cubicBezTo>
                    <a:pt x="56" y="93"/>
                    <a:pt x="56" y="93"/>
                    <a:pt x="56" y="93"/>
                  </a:cubicBezTo>
                  <a:cubicBezTo>
                    <a:pt x="56" y="94"/>
                    <a:pt x="56" y="94"/>
                    <a:pt x="55" y="95"/>
                  </a:cubicBezTo>
                  <a:cubicBezTo>
                    <a:pt x="55" y="95"/>
                    <a:pt x="54" y="96"/>
                    <a:pt x="53" y="96"/>
                  </a:cubicBezTo>
                  <a:cubicBezTo>
                    <a:pt x="3" y="96"/>
                    <a:pt x="3" y="96"/>
                    <a:pt x="3" y="96"/>
                  </a:cubicBezTo>
                  <a:cubicBezTo>
                    <a:pt x="3" y="96"/>
                    <a:pt x="2" y="95"/>
                    <a:pt x="2" y="95"/>
                  </a:cubicBezTo>
                  <a:cubicBezTo>
                    <a:pt x="1" y="94"/>
                    <a:pt x="1" y="94"/>
                    <a:pt x="1" y="93"/>
                  </a:cubicBezTo>
                  <a:cubicBezTo>
                    <a:pt x="1" y="88"/>
                    <a:pt x="1" y="88"/>
                    <a:pt x="1" y="88"/>
                  </a:cubicBezTo>
                  <a:cubicBezTo>
                    <a:pt x="1" y="87"/>
                    <a:pt x="1" y="86"/>
                    <a:pt x="2" y="86"/>
                  </a:cubicBezTo>
                  <a:cubicBezTo>
                    <a:pt x="2" y="86"/>
                    <a:pt x="3" y="85"/>
                    <a:pt x="3" y="85"/>
                  </a:cubicBezTo>
                  <a:cubicBezTo>
                    <a:pt x="46" y="85"/>
                    <a:pt x="46" y="85"/>
                    <a:pt x="46" y="85"/>
                  </a:cubicBezTo>
                  <a:cubicBezTo>
                    <a:pt x="46" y="83"/>
                    <a:pt x="46" y="83"/>
                    <a:pt x="46" y="83"/>
                  </a:cubicBezTo>
                  <a:cubicBezTo>
                    <a:pt x="46" y="80"/>
                    <a:pt x="46" y="77"/>
                    <a:pt x="45" y="75"/>
                  </a:cubicBezTo>
                  <a:cubicBezTo>
                    <a:pt x="44" y="73"/>
                    <a:pt x="44" y="71"/>
                    <a:pt x="42" y="69"/>
                  </a:cubicBezTo>
                  <a:cubicBezTo>
                    <a:pt x="41" y="66"/>
                    <a:pt x="39" y="64"/>
                    <a:pt x="37" y="62"/>
                  </a:cubicBezTo>
                  <a:cubicBezTo>
                    <a:pt x="35" y="60"/>
                    <a:pt x="32" y="58"/>
                    <a:pt x="28" y="56"/>
                  </a:cubicBezTo>
                  <a:cubicBezTo>
                    <a:pt x="16" y="47"/>
                    <a:pt x="16" y="47"/>
                    <a:pt x="16" y="47"/>
                  </a:cubicBezTo>
                  <a:cubicBezTo>
                    <a:pt x="10" y="43"/>
                    <a:pt x="6" y="39"/>
                    <a:pt x="3" y="36"/>
                  </a:cubicBezTo>
                  <a:cubicBezTo>
                    <a:pt x="1" y="32"/>
                    <a:pt x="0" y="28"/>
                    <a:pt x="0" y="23"/>
                  </a:cubicBezTo>
                  <a:cubicBezTo>
                    <a:pt x="0" y="15"/>
                    <a:pt x="2" y="9"/>
                    <a:pt x="7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22" name="Rectangle 21">
            <a:extLst>
              <a:ext uri="{FF2B5EF4-FFF2-40B4-BE49-F238E27FC236}">
                <a16:creationId xmlns:a16="http://schemas.microsoft.com/office/drawing/2014/main" id="{79FE5283-B009-4EE3-A9B2-2F7A4D62AD40}"/>
              </a:ext>
            </a:extLst>
          </p:cNvPr>
          <p:cNvSpPr/>
          <p:nvPr/>
        </p:nvSpPr>
        <p:spPr>
          <a:xfrm>
            <a:off x="8223823" y="720198"/>
            <a:ext cx="3167626" cy="129266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Empowering Talent In Emerging Markets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C63B2F05-B9A4-42FA-9DE1-4E4B120E90EB}"/>
              </a:ext>
            </a:extLst>
          </p:cNvPr>
          <p:cNvSpPr/>
          <p:nvPr/>
        </p:nvSpPr>
        <p:spPr>
          <a:xfrm>
            <a:off x="8223822" y="2351591"/>
            <a:ext cx="3167627" cy="323165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nlike traditional outsourcing, we want to provide extraordinary value to our customers by investing our profits into the design talent in Indonesia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83D6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hether it’s by educating our employees with our in house academy or by simply providing an incredible work environment with in-house gym, full health care, nutritional food and frequent social activities, we’re fully committed to empowering talents in emerging markets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83D6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e’re leaders In redefining the traditional approach of outsourcing.</a:t>
            </a:r>
          </a:p>
        </p:txBody>
      </p:sp>
    </p:spTree>
    <p:extLst>
      <p:ext uri="{BB962C8B-B14F-4D97-AF65-F5344CB8AC3E}">
        <p14:creationId xmlns:p14="http://schemas.microsoft.com/office/powerpoint/2010/main" val="195673909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2" name="Group 81">
            <a:extLst>
              <a:ext uri="{FF2B5EF4-FFF2-40B4-BE49-F238E27FC236}">
                <a16:creationId xmlns:a16="http://schemas.microsoft.com/office/drawing/2014/main" id="{714A87C3-3EFB-4722-BF0D-17138DEB6B2B}"/>
              </a:ext>
            </a:extLst>
          </p:cNvPr>
          <p:cNvGrpSpPr/>
          <p:nvPr/>
        </p:nvGrpSpPr>
        <p:grpSpPr>
          <a:xfrm>
            <a:off x="0" y="4954136"/>
            <a:ext cx="12192000" cy="1909138"/>
            <a:chOff x="0" y="4948862"/>
            <a:chExt cx="12192000" cy="1909138"/>
          </a:xfrm>
        </p:grpSpPr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EC99197A-1F6B-4498-BD1A-1E735D7E4EB6}"/>
                </a:ext>
              </a:extLst>
            </p:cNvPr>
            <p:cNvSpPr/>
            <p:nvPr/>
          </p:nvSpPr>
          <p:spPr>
            <a:xfrm>
              <a:off x="0" y="4948862"/>
              <a:ext cx="12192000" cy="1909138"/>
            </a:xfrm>
            <a:custGeom>
              <a:avLst/>
              <a:gdLst>
                <a:gd name="connsiteX0" fmla="*/ 0 w 12192000"/>
                <a:gd name="connsiteY0" fmla="*/ 0 h 1909138"/>
                <a:gd name="connsiteX1" fmla="*/ 227719 w 12192000"/>
                <a:gd name="connsiteY1" fmla="*/ 142350 h 1909138"/>
                <a:gd name="connsiteX2" fmla="*/ 6096001 w 12192000"/>
                <a:gd name="connsiteY2" fmla="*/ 1628919 h 1909138"/>
                <a:gd name="connsiteX3" fmla="*/ 11964283 w 12192000"/>
                <a:gd name="connsiteY3" fmla="*/ 142350 h 1909138"/>
                <a:gd name="connsiteX4" fmla="*/ 12192000 w 12192000"/>
                <a:gd name="connsiteY4" fmla="*/ 1 h 1909138"/>
                <a:gd name="connsiteX5" fmla="*/ 12192000 w 12192000"/>
                <a:gd name="connsiteY5" fmla="*/ 1909138 h 1909138"/>
                <a:gd name="connsiteX6" fmla="*/ 0 w 12192000"/>
                <a:gd name="connsiteY6" fmla="*/ 1909138 h 1909138"/>
                <a:gd name="connsiteX7" fmla="*/ 0 w 12192000"/>
                <a:gd name="connsiteY7" fmla="*/ 0 h 1909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2000" h="1909138">
                  <a:moveTo>
                    <a:pt x="0" y="0"/>
                  </a:moveTo>
                  <a:lnTo>
                    <a:pt x="227719" y="142350"/>
                  </a:lnTo>
                  <a:cubicBezTo>
                    <a:pt x="1777640" y="1065981"/>
                    <a:pt x="3836554" y="1628919"/>
                    <a:pt x="6096001" y="1628919"/>
                  </a:cubicBezTo>
                  <a:cubicBezTo>
                    <a:pt x="8355448" y="1628919"/>
                    <a:pt x="10414362" y="1065981"/>
                    <a:pt x="11964283" y="142350"/>
                  </a:cubicBezTo>
                  <a:lnTo>
                    <a:pt x="12192000" y="1"/>
                  </a:lnTo>
                  <a:lnTo>
                    <a:pt x="12192000" y="1909138"/>
                  </a:lnTo>
                  <a:lnTo>
                    <a:pt x="0" y="19091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8F1F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F9C80C8E-5A49-482B-8FB1-2FEACFCA5ACA}"/>
                </a:ext>
              </a:extLst>
            </p:cNvPr>
            <p:cNvSpPr/>
            <p:nvPr/>
          </p:nvSpPr>
          <p:spPr>
            <a:xfrm>
              <a:off x="0" y="5563852"/>
              <a:ext cx="12192000" cy="1294147"/>
            </a:xfrm>
            <a:custGeom>
              <a:avLst/>
              <a:gdLst>
                <a:gd name="connsiteX0" fmla="*/ 0 w 12192000"/>
                <a:gd name="connsiteY0" fmla="*/ 0 h 1909138"/>
                <a:gd name="connsiteX1" fmla="*/ 227719 w 12192000"/>
                <a:gd name="connsiteY1" fmla="*/ 142350 h 1909138"/>
                <a:gd name="connsiteX2" fmla="*/ 6096001 w 12192000"/>
                <a:gd name="connsiteY2" fmla="*/ 1628919 h 1909138"/>
                <a:gd name="connsiteX3" fmla="*/ 11964283 w 12192000"/>
                <a:gd name="connsiteY3" fmla="*/ 142350 h 1909138"/>
                <a:gd name="connsiteX4" fmla="*/ 12192000 w 12192000"/>
                <a:gd name="connsiteY4" fmla="*/ 1 h 1909138"/>
                <a:gd name="connsiteX5" fmla="*/ 12192000 w 12192000"/>
                <a:gd name="connsiteY5" fmla="*/ 1909138 h 1909138"/>
                <a:gd name="connsiteX6" fmla="*/ 0 w 12192000"/>
                <a:gd name="connsiteY6" fmla="*/ 1909138 h 1909138"/>
                <a:gd name="connsiteX7" fmla="*/ 0 w 12192000"/>
                <a:gd name="connsiteY7" fmla="*/ 0 h 1909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2000" h="1909138">
                  <a:moveTo>
                    <a:pt x="0" y="0"/>
                  </a:moveTo>
                  <a:lnTo>
                    <a:pt x="227719" y="142350"/>
                  </a:lnTo>
                  <a:cubicBezTo>
                    <a:pt x="1777640" y="1065981"/>
                    <a:pt x="3836554" y="1628919"/>
                    <a:pt x="6096001" y="1628919"/>
                  </a:cubicBezTo>
                  <a:cubicBezTo>
                    <a:pt x="8355448" y="1628919"/>
                    <a:pt x="10414362" y="1065981"/>
                    <a:pt x="11964283" y="142350"/>
                  </a:cubicBezTo>
                  <a:lnTo>
                    <a:pt x="12192000" y="1"/>
                  </a:lnTo>
                  <a:lnTo>
                    <a:pt x="12192000" y="1909138"/>
                  </a:lnTo>
                  <a:lnTo>
                    <a:pt x="0" y="19091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7AC2F9">
                <a:alpha val="11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pic>
        <p:nvPicPr>
          <p:cNvPr id="47" name="Picture 4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80891" y="1262987"/>
            <a:ext cx="3058784" cy="2160836"/>
          </a:xfrm>
          <a:prstGeom prst="rect">
            <a:avLst/>
          </a:prstGeom>
          <a:effectLst>
            <a:outerShdw blurRad="381000" dist="190500" dir="5400000" algn="tl" rotWithShape="0">
              <a:prstClr val="black">
                <a:alpha val="12000"/>
              </a:prstClr>
            </a:outerShdw>
          </a:effectLst>
        </p:spPr>
      </p:pic>
      <p:pic>
        <p:nvPicPr>
          <p:cNvPr id="48" name="Picture 47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60764" y="3615314"/>
            <a:ext cx="3808453" cy="2142255"/>
          </a:xfrm>
          <a:prstGeom prst="rect">
            <a:avLst/>
          </a:prstGeom>
          <a:effectLst>
            <a:outerShdw blurRad="381000" dist="190500" dir="5400000" algn="tl" rotWithShape="0">
              <a:prstClr val="black">
                <a:alpha val="20000"/>
              </a:prstClr>
            </a:outerShdw>
          </a:effectLst>
        </p:spPr>
      </p:pic>
      <p:pic>
        <p:nvPicPr>
          <p:cNvPr id="65" name="Shape 131"/>
          <p:cNvPicPr preferRelativeResize="0"/>
          <p:nvPr/>
        </p:nvPicPr>
        <p:blipFill rotWithShape="1">
          <a:blip r:embed="rId5">
            <a:alphaModFix/>
          </a:blip>
          <a:srcRect t="18724" b="13617"/>
          <a:stretch/>
        </p:blipFill>
        <p:spPr>
          <a:xfrm>
            <a:off x="4118669" y="1283427"/>
            <a:ext cx="3195798" cy="2162276"/>
          </a:xfrm>
          <a:prstGeom prst="rect">
            <a:avLst/>
          </a:prstGeom>
          <a:noFill/>
          <a:ln>
            <a:noFill/>
          </a:ln>
          <a:effectLst>
            <a:outerShdw blurRad="381000" dist="190500" dir="5400000" algn="tl" rotWithShape="0">
              <a:prstClr val="black">
                <a:alpha val="13000"/>
              </a:prstClr>
            </a:outerShdw>
          </a:effectLst>
        </p:spPr>
      </p:pic>
      <p:pic>
        <p:nvPicPr>
          <p:cNvPr id="50" name="Picture 49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31253" y="3418413"/>
            <a:ext cx="4559527" cy="2913376"/>
          </a:xfrm>
          <a:prstGeom prst="rect">
            <a:avLst/>
          </a:prstGeom>
        </p:spPr>
      </p:pic>
      <p:grpSp>
        <p:nvGrpSpPr>
          <p:cNvPr id="34" name="Group 33">
            <a:extLst>
              <a:ext uri="{FF2B5EF4-FFF2-40B4-BE49-F238E27FC236}">
                <a16:creationId xmlns:a16="http://schemas.microsoft.com/office/drawing/2014/main" id="{7CF34645-10AF-4AB4-83EA-BF059F6BEB4D}"/>
              </a:ext>
            </a:extLst>
          </p:cNvPr>
          <p:cNvGrpSpPr/>
          <p:nvPr/>
        </p:nvGrpSpPr>
        <p:grpSpPr>
          <a:xfrm>
            <a:off x="10928712" y="6378850"/>
            <a:ext cx="947290" cy="270982"/>
            <a:chOff x="4103688" y="-2378075"/>
            <a:chExt cx="1309687" cy="374650"/>
          </a:xfrm>
          <a:solidFill>
            <a:srgbClr val="468DC3"/>
          </a:solidFill>
        </p:grpSpPr>
        <p:sp>
          <p:nvSpPr>
            <p:cNvPr id="35" name="Freeform 254">
              <a:extLst>
                <a:ext uri="{FF2B5EF4-FFF2-40B4-BE49-F238E27FC236}">
                  <a16:creationId xmlns:a16="http://schemas.microsoft.com/office/drawing/2014/main" id="{3BD74B41-BA0A-4A11-9DA4-8621503651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03688" y="-2374900"/>
              <a:ext cx="182562" cy="288925"/>
            </a:xfrm>
            <a:custGeom>
              <a:avLst/>
              <a:gdLst>
                <a:gd name="T0" fmla="*/ 43 w 61"/>
                <a:gd name="T1" fmla="*/ 47 h 95"/>
                <a:gd name="T2" fmla="*/ 30 w 61"/>
                <a:gd name="T3" fmla="*/ 55 h 95"/>
                <a:gd name="T4" fmla="*/ 11 w 61"/>
                <a:gd name="T5" fmla="*/ 83 h 95"/>
                <a:gd name="T6" fmla="*/ 11 w 61"/>
                <a:gd name="T7" fmla="*/ 85 h 95"/>
                <a:gd name="T8" fmla="*/ 57 w 61"/>
                <a:gd name="T9" fmla="*/ 85 h 95"/>
                <a:gd name="T10" fmla="*/ 60 w 61"/>
                <a:gd name="T11" fmla="*/ 88 h 95"/>
                <a:gd name="T12" fmla="*/ 60 w 61"/>
                <a:gd name="T13" fmla="*/ 93 h 95"/>
                <a:gd name="T14" fmla="*/ 57 w 61"/>
                <a:gd name="T15" fmla="*/ 95 h 95"/>
                <a:gd name="T16" fmla="*/ 3 w 61"/>
                <a:gd name="T17" fmla="*/ 95 h 95"/>
                <a:gd name="T18" fmla="*/ 0 w 61"/>
                <a:gd name="T19" fmla="*/ 93 h 95"/>
                <a:gd name="T20" fmla="*/ 0 w 61"/>
                <a:gd name="T21" fmla="*/ 83 h 95"/>
                <a:gd name="T22" fmla="*/ 21 w 61"/>
                <a:gd name="T23" fmla="*/ 49 h 95"/>
                <a:gd name="T24" fmla="*/ 35 w 61"/>
                <a:gd name="T25" fmla="*/ 40 h 95"/>
                <a:gd name="T26" fmla="*/ 49 w 61"/>
                <a:gd name="T27" fmla="*/ 22 h 95"/>
                <a:gd name="T28" fmla="*/ 28 w 61"/>
                <a:gd name="T29" fmla="*/ 9 h 95"/>
                <a:gd name="T30" fmla="*/ 4 w 61"/>
                <a:gd name="T31" fmla="*/ 11 h 95"/>
                <a:gd name="T32" fmla="*/ 3 w 61"/>
                <a:gd name="T33" fmla="*/ 11 h 95"/>
                <a:gd name="T34" fmla="*/ 1 w 61"/>
                <a:gd name="T35" fmla="*/ 9 h 95"/>
                <a:gd name="T36" fmla="*/ 1 w 61"/>
                <a:gd name="T37" fmla="*/ 4 h 95"/>
                <a:gd name="T38" fmla="*/ 4 w 61"/>
                <a:gd name="T39" fmla="*/ 2 h 95"/>
                <a:gd name="T40" fmla="*/ 28 w 61"/>
                <a:gd name="T41" fmla="*/ 0 h 95"/>
                <a:gd name="T42" fmla="*/ 61 w 61"/>
                <a:gd name="T43" fmla="*/ 22 h 95"/>
                <a:gd name="T44" fmla="*/ 43 w 61"/>
                <a:gd name="T45" fmla="*/ 47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61" h="95">
                  <a:moveTo>
                    <a:pt x="43" y="47"/>
                  </a:moveTo>
                  <a:cubicBezTo>
                    <a:pt x="30" y="55"/>
                    <a:pt x="30" y="55"/>
                    <a:pt x="30" y="55"/>
                  </a:cubicBezTo>
                  <a:cubicBezTo>
                    <a:pt x="15" y="65"/>
                    <a:pt x="11" y="72"/>
                    <a:pt x="11" y="83"/>
                  </a:cubicBezTo>
                  <a:cubicBezTo>
                    <a:pt x="11" y="85"/>
                    <a:pt x="11" y="85"/>
                    <a:pt x="11" y="85"/>
                  </a:cubicBezTo>
                  <a:cubicBezTo>
                    <a:pt x="57" y="85"/>
                    <a:pt x="57" y="85"/>
                    <a:pt x="57" y="85"/>
                  </a:cubicBezTo>
                  <a:cubicBezTo>
                    <a:pt x="59" y="85"/>
                    <a:pt x="60" y="86"/>
                    <a:pt x="60" y="88"/>
                  </a:cubicBezTo>
                  <a:cubicBezTo>
                    <a:pt x="60" y="93"/>
                    <a:pt x="60" y="93"/>
                    <a:pt x="60" y="93"/>
                  </a:cubicBezTo>
                  <a:cubicBezTo>
                    <a:pt x="60" y="95"/>
                    <a:pt x="59" y="95"/>
                    <a:pt x="57" y="95"/>
                  </a:cubicBezTo>
                  <a:cubicBezTo>
                    <a:pt x="3" y="95"/>
                    <a:pt x="3" y="95"/>
                    <a:pt x="3" y="95"/>
                  </a:cubicBezTo>
                  <a:cubicBezTo>
                    <a:pt x="1" y="95"/>
                    <a:pt x="0" y="94"/>
                    <a:pt x="0" y="93"/>
                  </a:cubicBezTo>
                  <a:cubicBezTo>
                    <a:pt x="0" y="83"/>
                    <a:pt x="0" y="83"/>
                    <a:pt x="0" y="83"/>
                  </a:cubicBezTo>
                  <a:cubicBezTo>
                    <a:pt x="0" y="69"/>
                    <a:pt x="6" y="58"/>
                    <a:pt x="21" y="49"/>
                  </a:cubicBezTo>
                  <a:cubicBezTo>
                    <a:pt x="35" y="40"/>
                    <a:pt x="35" y="40"/>
                    <a:pt x="35" y="40"/>
                  </a:cubicBezTo>
                  <a:cubicBezTo>
                    <a:pt x="46" y="33"/>
                    <a:pt x="49" y="30"/>
                    <a:pt x="49" y="22"/>
                  </a:cubicBezTo>
                  <a:cubicBezTo>
                    <a:pt x="49" y="13"/>
                    <a:pt x="43" y="9"/>
                    <a:pt x="28" y="9"/>
                  </a:cubicBezTo>
                  <a:cubicBezTo>
                    <a:pt x="21" y="9"/>
                    <a:pt x="12" y="10"/>
                    <a:pt x="4" y="11"/>
                  </a:cubicBezTo>
                  <a:cubicBezTo>
                    <a:pt x="4" y="11"/>
                    <a:pt x="4" y="11"/>
                    <a:pt x="3" y="11"/>
                  </a:cubicBezTo>
                  <a:cubicBezTo>
                    <a:pt x="2" y="11"/>
                    <a:pt x="1" y="10"/>
                    <a:pt x="1" y="9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3"/>
                    <a:pt x="3" y="2"/>
                    <a:pt x="4" y="2"/>
                  </a:cubicBezTo>
                  <a:cubicBezTo>
                    <a:pt x="11" y="0"/>
                    <a:pt x="20" y="0"/>
                    <a:pt x="28" y="0"/>
                  </a:cubicBezTo>
                  <a:cubicBezTo>
                    <a:pt x="51" y="0"/>
                    <a:pt x="61" y="7"/>
                    <a:pt x="61" y="22"/>
                  </a:cubicBezTo>
                  <a:cubicBezTo>
                    <a:pt x="61" y="33"/>
                    <a:pt x="56" y="39"/>
                    <a:pt x="43" y="4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6" name="Freeform 255">
              <a:extLst>
                <a:ext uri="{FF2B5EF4-FFF2-40B4-BE49-F238E27FC236}">
                  <a16:creationId xmlns:a16="http://schemas.microsoft.com/office/drawing/2014/main" id="{70015F1F-F2D6-4D60-A53E-7C7EDFAFDF9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08463" y="-2308225"/>
              <a:ext cx="211137" cy="304800"/>
            </a:xfrm>
            <a:custGeom>
              <a:avLst/>
              <a:gdLst>
                <a:gd name="T0" fmla="*/ 68 w 70"/>
                <a:gd name="T1" fmla="*/ 74 h 100"/>
                <a:gd name="T2" fmla="*/ 56 w 70"/>
                <a:gd name="T3" fmla="*/ 74 h 100"/>
                <a:gd name="T4" fmla="*/ 56 w 70"/>
                <a:gd name="T5" fmla="*/ 98 h 100"/>
                <a:gd name="T6" fmla="*/ 54 w 70"/>
                <a:gd name="T7" fmla="*/ 100 h 100"/>
                <a:gd name="T8" fmla="*/ 46 w 70"/>
                <a:gd name="T9" fmla="*/ 100 h 100"/>
                <a:gd name="T10" fmla="*/ 44 w 70"/>
                <a:gd name="T11" fmla="*/ 98 h 100"/>
                <a:gd name="T12" fmla="*/ 44 w 70"/>
                <a:gd name="T13" fmla="*/ 74 h 100"/>
                <a:gd name="T14" fmla="*/ 5 w 70"/>
                <a:gd name="T15" fmla="*/ 74 h 100"/>
                <a:gd name="T16" fmla="*/ 0 w 70"/>
                <a:gd name="T17" fmla="*/ 68 h 100"/>
                <a:gd name="T18" fmla="*/ 0 w 70"/>
                <a:gd name="T19" fmla="*/ 63 h 100"/>
                <a:gd name="T20" fmla="*/ 1 w 70"/>
                <a:gd name="T21" fmla="*/ 58 h 100"/>
                <a:gd name="T22" fmla="*/ 41 w 70"/>
                <a:gd name="T23" fmla="*/ 2 h 100"/>
                <a:gd name="T24" fmla="*/ 45 w 70"/>
                <a:gd name="T25" fmla="*/ 0 h 100"/>
                <a:gd name="T26" fmla="*/ 52 w 70"/>
                <a:gd name="T27" fmla="*/ 0 h 100"/>
                <a:gd name="T28" fmla="*/ 56 w 70"/>
                <a:gd name="T29" fmla="*/ 3 h 100"/>
                <a:gd name="T30" fmla="*/ 56 w 70"/>
                <a:gd name="T31" fmla="*/ 63 h 100"/>
                <a:gd name="T32" fmla="*/ 68 w 70"/>
                <a:gd name="T33" fmla="*/ 63 h 100"/>
                <a:gd name="T34" fmla="*/ 70 w 70"/>
                <a:gd name="T35" fmla="*/ 66 h 100"/>
                <a:gd name="T36" fmla="*/ 70 w 70"/>
                <a:gd name="T37" fmla="*/ 71 h 100"/>
                <a:gd name="T38" fmla="*/ 68 w 70"/>
                <a:gd name="T39" fmla="*/ 74 h 100"/>
                <a:gd name="T40" fmla="*/ 44 w 70"/>
                <a:gd name="T41" fmla="*/ 17 h 100"/>
                <a:gd name="T42" fmla="*/ 43 w 70"/>
                <a:gd name="T43" fmla="*/ 17 h 100"/>
                <a:gd name="T44" fmla="*/ 43 w 70"/>
                <a:gd name="T45" fmla="*/ 17 h 100"/>
                <a:gd name="T46" fmla="*/ 42 w 70"/>
                <a:gd name="T47" fmla="*/ 17 h 100"/>
                <a:gd name="T48" fmla="*/ 11 w 70"/>
                <a:gd name="T49" fmla="*/ 61 h 100"/>
                <a:gd name="T50" fmla="*/ 11 w 70"/>
                <a:gd name="T51" fmla="*/ 63 h 100"/>
                <a:gd name="T52" fmla="*/ 12 w 70"/>
                <a:gd name="T53" fmla="*/ 63 h 100"/>
                <a:gd name="T54" fmla="*/ 44 w 70"/>
                <a:gd name="T55" fmla="*/ 63 h 100"/>
                <a:gd name="T56" fmla="*/ 44 w 70"/>
                <a:gd name="T57" fmla="*/ 17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70" h="100">
                  <a:moveTo>
                    <a:pt x="68" y="74"/>
                  </a:moveTo>
                  <a:cubicBezTo>
                    <a:pt x="56" y="74"/>
                    <a:pt x="56" y="74"/>
                    <a:pt x="56" y="74"/>
                  </a:cubicBezTo>
                  <a:cubicBezTo>
                    <a:pt x="56" y="98"/>
                    <a:pt x="56" y="98"/>
                    <a:pt x="56" y="98"/>
                  </a:cubicBezTo>
                  <a:cubicBezTo>
                    <a:pt x="56" y="99"/>
                    <a:pt x="55" y="100"/>
                    <a:pt x="54" y="100"/>
                  </a:cubicBezTo>
                  <a:cubicBezTo>
                    <a:pt x="46" y="100"/>
                    <a:pt x="46" y="100"/>
                    <a:pt x="46" y="100"/>
                  </a:cubicBezTo>
                  <a:cubicBezTo>
                    <a:pt x="44" y="100"/>
                    <a:pt x="44" y="99"/>
                    <a:pt x="44" y="98"/>
                  </a:cubicBezTo>
                  <a:cubicBezTo>
                    <a:pt x="44" y="74"/>
                    <a:pt x="44" y="74"/>
                    <a:pt x="44" y="74"/>
                  </a:cubicBezTo>
                  <a:cubicBezTo>
                    <a:pt x="5" y="74"/>
                    <a:pt x="5" y="74"/>
                    <a:pt x="5" y="74"/>
                  </a:cubicBezTo>
                  <a:cubicBezTo>
                    <a:pt x="1" y="74"/>
                    <a:pt x="0" y="72"/>
                    <a:pt x="0" y="68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0" y="61"/>
                    <a:pt x="0" y="60"/>
                    <a:pt x="1" y="58"/>
                  </a:cubicBezTo>
                  <a:cubicBezTo>
                    <a:pt x="41" y="2"/>
                    <a:pt x="41" y="2"/>
                    <a:pt x="41" y="2"/>
                  </a:cubicBezTo>
                  <a:cubicBezTo>
                    <a:pt x="41" y="1"/>
                    <a:pt x="42" y="0"/>
                    <a:pt x="45" y="0"/>
                  </a:cubicBezTo>
                  <a:cubicBezTo>
                    <a:pt x="52" y="0"/>
                    <a:pt x="52" y="0"/>
                    <a:pt x="52" y="0"/>
                  </a:cubicBezTo>
                  <a:cubicBezTo>
                    <a:pt x="55" y="0"/>
                    <a:pt x="56" y="1"/>
                    <a:pt x="56" y="3"/>
                  </a:cubicBezTo>
                  <a:cubicBezTo>
                    <a:pt x="56" y="63"/>
                    <a:pt x="56" y="63"/>
                    <a:pt x="56" y="63"/>
                  </a:cubicBezTo>
                  <a:cubicBezTo>
                    <a:pt x="68" y="63"/>
                    <a:pt x="68" y="63"/>
                    <a:pt x="68" y="63"/>
                  </a:cubicBezTo>
                  <a:cubicBezTo>
                    <a:pt x="69" y="63"/>
                    <a:pt x="70" y="64"/>
                    <a:pt x="70" y="66"/>
                  </a:cubicBezTo>
                  <a:cubicBezTo>
                    <a:pt x="70" y="71"/>
                    <a:pt x="70" y="71"/>
                    <a:pt x="70" y="71"/>
                  </a:cubicBezTo>
                  <a:cubicBezTo>
                    <a:pt x="70" y="73"/>
                    <a:pt x="69" y="74"/>
                    <a:pt x="68" y="74"/>
                  </a:cubicBezTo>
                  <a:close/>
                  <a:moveTo>
                    <a:pt x="44" y="17"/>
                  </a:moveTo>
                  <a:cubicBezTo>
                    <a:pt x="44" y="17"/>
                    <a:pt x="44" y="17"/>
                    <a:pt x="43" y="17"/>
                  </a:cubicBezTo>
                  <a:cubicBezTo>
                    <a:pt x="43" y="17"/>
                    <a:pt x="43" y="17"/>
                    <a:pt x="43" y="17"/>
                  </a:cubicBezTo>
                  <a:cubicBezTo>
                    <a:pt x="43" y="17"/>
                    <a:pt x="42" y="17"/>
                    <a:pt x="42" y="17"/>
                  </a:cubicBezTo>
                  <a:cubicBezTo>
                    <a:pt x="11" y="61"/>
                    <a:pt x="11" y="61"/>
                    <a:pt x="11" y="61"/>
                  </a:cubicBezTo>
                  <a:cubicBezTo>
                    <a:pt x="11" y="62"/>
                    <a:pt x="11" y="62"/>
                    <a:pt x="11" y="63"/>
                  </a:cubicBezTo>
                  <a:cubicBezTo>
                    <a:pt x="11" y="63"/>
                    <a:pt x="11" y="63"/>
                    <a:pt x="12" y="63"/>
                  </a:cubicBezTo>
                  <a:cubicBezTo>
                    <a:pt x="44" y="63"/>
                    <a:pt x="44" y="63"/>
                    <a:pt x="44" y="63"/>
                  </a:cubicBezTo>
                  <a:lnTo>
                    <a:pt x="44" y="1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7" name="Freeform 256">
              <a:extLst>
                <a:ext uri="{FF2B5EF4-FFF2-40B4-BE49-F238E27FC236}">
                  <a16:creationId xmlns:a16="http://schemas.microsoft.com/office/drawing/2014/main" id="{C4CE39B4-6254-4FFC-BA20-495537310D7A}"/>
                </a:ext>
              </a:extLst>
            </p:cNvPr>
            <p:cNvSpPr>
              <a:spLocks/>
            </p:cNvSpPr>
            <p:nvPr/>
          </p:nvSpPr>
          <p:spPr bwMode="auto">
            <a:xfrm>
              <a:off x="4645025" y="-2374900"/>
              <a:ext cx="34925" cy="292100"/>
            </a:xfrm>
            <a:custGeom>
              <a:avLst/>
              <a:gdLst>
                <a:gd name="T0" fmla="*/ 11 w 12"/>
                <a:gd name="T1" fmla="*/ 95 h 96"/>
                <a:gd name="T2" fmla="*/ 10 w 12"/>
                <a:gd name="T3" fmla="*/ 96 h 96"/>
                <a:gd name="T4" fmla="*/ 3 w 12"/>
                <a:gd name="T5" fmla="*/ 96 h 96"/>
                <a:gd name="T6" fmla="*/ 1 w 12"/>
                <a:gd name="T7" fmla="*/ 95 h 96"/>
                <a:gd name="T8" fmla="*/ 0 w 12"/>
                <a:gd name="T9" fmla="*/ 93 h 96"/>
                <a:gd name="T10" fmla="*/ 0 w 12"/>
                <a:gd name="T11" fmla="*/ 2 h 96"/>
                <a:gd name="T12" fmla="*/ 1 w 12"/>
                <a:gd name="T13" fmla="*/ 1 h 96"/>
                <a:gd name="T14" fmla="*/ 3 w 12"/>
                <a:gd name="T15" fmla="*/ 0 h 96"/>
                <a:gd name="T16" fmla="*/ 10 w 12"/>
                <a:gd name="T17" fmla="*/ 0 h 96"/>
                <a:gd name="T18" fmla="*/ 11 w 12"/>
                <a:gd name="T19" fmla="*/ 1 h 96"/>
                <a:gd name="T20" fmla="*/ 12 w 12"/>
                <a:gd name="T21" fmla="*/ 2 h 96"/>
                <a:gd name="T22" fmla="*/ 12 w 12"/>
                <a:gd name="T23" fmla="*/ 93 h 96"/>
                <a:gd name="T24" fmla="*/ 11 w 12"/>
                <a:gd name="T25" fmla="*/ 95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" h="96">
                  <a:moveTo>
                    <a:pt x="11" y="95"/>
                  </a:moveTo>
                  <a:cubicBezTo>
                    <a:pt x="11" y="95"/>
                    <a:pt x="10" y="96"/>
                    <a:pt x="10" y="96"/>
                  </a:cubicBezTo>
                  <a:cubicBezTo>
                    <a:pt x="3" y="96"/>
                    <a:pt x="3" y="96"/>
                    <a:pt x="3" y="96"/>
                  </a:cubicBezTo>
                  <a:cubicBezTo>
                    <a:pt x="2" y="96"/>
                    <a:pt x="1" y="95"/>
                    <a:pt x="1" y="95"/>
                  </a:cubicBezTo>
                  <a:cubicBezTo>
                    <a:pt x="0" y="94"/>
                    <a:pt x="0" y="94"/>
                    <a:pt x="0" y="93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1"/>
                    <a:pt x="1" y="1"/>
                  </a:cubicBezTo>
                  <a:cubicBezTo>
                    <a:pt x="1" y="0"/>
                    <a:pt x="2" y="0"/>
                    <a:pt x="3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1" y="0"/>
                    <a:pt x="11" y="1"/>
                  </a:cubicBezTo>
                  <a:cubicBezTo>
                    <a:pt x="12" y="1"/>
                    <a:pt x="12" y="2"/>
                    <a:pt x="12" y="2"/>
                  </a:cubicBezTo>
                  <a:cubicBezTo>
                    <a:pt x="12" y="93"/>
                    <a:pt x="12" y="93"/>
                    <a:pt x="12" y="93"/>
                  </a:cubicBezTo>
                  <a:cubicBezTo>
                    <a:pt x="12" y="94"/>
                    <a:pt x="12" y="94"/>
                    <a:pt x="11" y="9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8" name="Freeform 257">
              <a:extLst>
                <a:ext uri="{FF2B5EF4-FFF2-40B4-BE49-F238E27FC236}">
                  <a16:creationId xmlns:a16="http://schemas.microsoft.com/office/drawing/2014/main" id="{39F9AD79-BD1F-4A45-B55C-3517BA91B72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43450" y="-2378075"/>
              <a:ext cx="36512" cy="295275"/>
            </a:xfrm>
            <a:custGeom>
              <a:avLst/>
              <a:gdLst>
                <a:gd name="T0" fmla="*/ 11 w 12"/>
                <a:gd name="T1" fmla="*/ 15 h 97"/>
                <a:gd name="T2" fmla="*/ 9 w 12"/>
                <a:gd name="T3" fmla="*/ 15 h 97"/>
                <a:gd name="T4" fmla="*/ 3 w 12"/>
                <a:gd name="T5" fmla="*/ 15 h 97"/>
                <a:gd name="T6" fmla="*/ 1 w 12"/>
                <a:gd name="T7" fmla="*/ 15 h 97"/>
                <a:gd name="T8" fmla="*/ 0 w 12"/>
                <a:gd name="T9" fmla="*/ 13 h 97"/>
                <a:gd name="T10" fmla="*/ 0 w 12"/>
                <a:gd name="T11" fmla="*/ 3 h 97"/>
                <a:gd name="T12" fmla="*/ 1 w 12"/>
                <a:gd name="T13" fmla="*/ 1 h 97"/>
                <a:gd name="T14" fmla="*/ 3 w 12"/>
                <a:gd name="T15" fmla="*/ 0 h 97"/>
                <a:gd name="T16" fmla="*/ 9 w 12"/>
                <a:gd name="T17" fmla="*/ 0 h 97"/>
                <a:gd name="T18" fmla="*/ 11 w 12"/>
                <a:gd name="T19" fmla="*/ 1 h 97"/>
                <a:gd name="T20" fmla="*/ 12 w 12"/>
                <a:gd name="T21" fmla="*/ 3 h 97"/>
                <a:gd name="T22" fmla="*/ 12 w 12"/>
                <a:gd name="T23" fmla="*/ 13 h 97"/>
                <a:gd name="T24" fmla="*/ 11 w 12"/>
                <a:gd name="T25" fmla="*/ 15 h 97"/>
                <a:gd name="T26" fmla="*/ 11 w 12"/>
                <a:gd name="T27" fmla="*/ 96 h 97"/>
                <a:gd name="T28" fmla="*/ 9 w 12"/>
                <a:gd name="T29" fmla="*/ 97 h 97"/>
                <a:gd name="T30" fmla="*/ 3 w 12"/>
                <a:gd name="T31" fmla="*/ 97 h 97"/>
                <a:gd name="T32" fmla="*/ 1 w 12"/>
                <a:gd name="T33" fmla="*/ 96 h 97"/>
                <a:gd name="T34" fmla="*/ 0 w 12"/>
                <a:gd name="T35" fmla="*/ 94 h 97"/>
                <a:gd name="T36" fmla="*/ 0 w 12"/>
                <a:gd name="T37" fmla="*/ 29 h 97"/>
                <a:gd name="T38" fmla="*/ 1 w 12"/>
                <a:gd name="T39" fmla="*/ 27 h 97"/>
                <a:gd name="T40" fmla="*/ 3 w 12"/>
                <a:gd name="T41" fmla="*/ 27 h 97"/>
                <a:gd name="T42" fmla="*/ 9 w 12"/>
                <a:gd name="T43" fmla="*/ 27 h 97"/>
                <a:gd name="T44" fmla="*/ 11 w 12"/>
                <a:gd name="T45" fmla="*/ 27 h 97"/>
                <a:gd name="T46" fmla="*/ 12 w 12"/>
                <a:gd name="T47" fmla="*/ 29 h 97"/>
                <a:gd name="T48" fmla="*/ 12 w 12"/>
                <a:gd name="T49" fmla="*/ 94 h 97"/>
                <a:gd name="T50" fmla="*/ 11 w 12"/>
                <a:gd name="T51" fmla="*/ 96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2" h="97">
                  <a:moveTo>
                    <a:pt x="11" y="15"/>
                  </a:moveTo>
                  <a:cubicBezTo>
                    <a:pt x="11" y="15"/>
                    <a:pt x="10" y="15"/>
                    <a:pt x="9" y="15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2" y="15"/>
                    <a:pt x="1" y="15"/>
                    <a:pt x="1" y="15"/>
                  </a:cubicBezTo>
                  <a:cubicBezTo>
                    <a:pt x="0" y="14"/>
                    <a:pt x="0" y="14"/>
                    <a:pt x="0" y="1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0" y="1"/>
                    <a:pt x="1" y="1"/>
                  </a:cubicBezTo>
                  <a:cubicBezTo>
                    <a:pt x="1" y="0"/>
                    <a:pt x="2" y="0"/>
                    <a:pt x="3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0" y="0"/>
                    <a:pt x="11" y="0"/>
                    <a:pt x="11" y="1"/>
                  </a:cubicBezTo>
                  <a:cubicBezTo>
                    <a:pt x="12" y="1"/>
                    <a:pt x="12" y="2"/>
                    <a:pt x="12" y="3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2" y="14"/>
                    <a:pt x="12" y="14"/>
                    <a:pt x="11" y="15"/>
                  </a:cubicBezTo>
                  <a:close/>
                  <a:moveTo>
                    <a:pt x="11" y="96"/>
                  </a:moveTo>
                  <a:cubicBezTo>
                    <a:pt x="10" y="96"/>
                    <a:pt x="10" y="97"/>
                    <a:pt x="9" y="97"/>
                  </a:cubicBezTo>
                  <a:cubicBezTo>
                    <a:pt x="3" y="97"/>
                    <a:pt x="3" y="97"/>
                    <a:pt x="3" y="97"/>
                  </a:cubicBezTo>
                  <a:cubicBezTo>
                    <a:pt x="2" y="97"/>
                    <a:pt x="1" y="96"/>
                    <a:pt x="1" y="96"/>
                  </a:cubicBezTo>
                  <a:cubicBezTo>
                    <a:pt x="0" y="95"/>
                    <a:pt x="0" y="95"/>
                    <a:pt x="0" y="94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28"/>
                    <a:pt x="0" y="28"/>
                    <a:pt x="1" y="27"/>
                  </a:cubicBezTo>
                  <a:cubicBezTo>
                    <a:pt x="1" y="27"/>
                    <a:pt x="2" y="27"/>
                    <a:pt x="3" y="27"/>
                  </a:cubicBezTo>
                  <a:cubicBezTo>
                    <a:pt x="9" y="27"/>
                    <a:pt x="9" y="27"/>
                    <a:pt x="9" y="27"/>
                  </a:cubicBezTo>
                  <a:cubicBezTo>
                    <a:pt x="10" y="27"/>
                    <a:pt x="10" y="27"/>
                    <a:pt x="11" y="27"/>
                  </a:cubicBezTo>
                  <a:cubicBezTo>
                    <a:pt x="11" y="28"/>
                    <a:pt x="12" y="28"/>
                    <a:pt x="12" y="29"/>
                  </a:cubicBezTo>
                  <a:cubicBezTo>
                    <a:pt x="12" y="94"/>
                    <a:pt x="12" y="94"/>
                    <a:pt x="12" y="94"/>
                  </a:cubicBezTo>
                  <a:cubicBezTo>
                    <a:pt x="12" y="95"/>
                    <a:pt x="11" y="95"/>
                    <a:pt x="11" y="9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9" name="Freeform 258">
              <a:extLst>
                <a:ext uri="{FF2B5EF4-FFF2-40B4-BE49-F238E27FC236}">
                  <a16:creationId xmlns:a16="http://schemas.microsoft.com/office/drawing/2014/main" id="{5796D783-CBD6-4483-9C65-B66A3B5093D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30763" y="-2374900"/>
              <a:ext cx="171450" cy="295275"/>
            </a:xfrm>
            <a:custGeom>
              <a:avLst/>
              <a:gdLst>
                <a:gd name="T0" fmla="*/ 56 w 57"/>
                <a:gd name="T1" fmla="*/ 93 h 97"/>
                <a:gd name="T2" fmla="*/ 54 w 57"/>
                <a:gd name="T3" fmla="*/ 94 h 97"/>
                <a:gd name="T4" fmla="*/ 41 w 57"/>
                <a:gd name="T5" fmla="*/ 96 h 97"/>
                <a:gd name="T6" fmla="*/ 29 w 57"/>
                <a:gd name="T7" fmla="*/ 97 h 97"/>
                <a:gd name="T8" fmla="*/ 16 w 57"/>
                <a:gd name="T9" fmla="*/ 94 h 97"/>
                <a:gd name="T10" fmla="*/ 7 w 57"/>
                <a:gd name="T11" fmla="*/ 88 h 97"/>
                <a:gd name="T12" fmla="*/ 2 w 57"/>
                <a:gd name="T13" fmla="*/ 78 h 97"/>
                <a:gd name="T14" fmla="*/ 0 w 57"/>
                <a:gd name="T15" fmla="*/ 65 h 97"/>
                <a:gd name="T16" fmla="*/ 0 w 57"/>
                <a:gd name="T17" fmla="*/ 56 h 97"/>
                <a:gd name="T18" fmla="*/ 7 w 57"/>
                <a:gd name="T19" fmla="*/ 33 h 97"/>
                <a:gd name="T20" fmla="*/ 29 w 57"/>
                <a:gd name="T21" fmla="*/ 25 h 97"/>
                <a:gd name="T22" fmla="*/ 37 w 57"/>
                <a:gd name="T23" fmla="*/ 25 h 97"/>
                <a:gd name="T24" fmla="*/ 45 w 57"/>
                <a:gd name="T25" fmla="*/ 26 h 97"/>
                <a:gd name="T26" fmla="*/ 45 w 57"/>
                <a:gd name="T27" fmla="*/ 2 h 97"/>
                <a:gd name="T28" fmla="*/ 46 w 57"/>
                <a:gd name="T29" fmla="*/ 1 h 97"/>
                <a:gd name="T30" fmla="*/ 47 w 57"/>
                <a:gd name="T31" fmla="*/ 0 h 97"/>
                <a:gd name="T32" fmla="*/ 54 w 57"/>
                <a:gd name="T33" fmla="*/ 0 h 97"/>
                <a:gd name="T34" fmla="*/ 56 w 57"/>
                <a:gd name="T35" fmla="*/ 1 h 97"/>
                <a:gd name="T36" fmla="*/ 57 w 57"/>
                <a:gd name="T37" fmla="*/ 2 h 97"/>
                <a:gd name="T38" fmla="*/ 57 w 57"/>
                <a:gd name="T39" fmla="*/ 91 h 97"/>
                <a:gd name="T40" fmla="*/ 56 w 57"/>
                <a:gd name="T41" fmla="*/ 93 h 97"/>
                <a:gd name="T42" fmla="*/ 45 w 57"/>
                <a:gd name="T43" fmla="*/ 35 h 97"/>
                <a:gd name="T44" fmla="*/ 37 w 57"/>
                <a:gd name="T45" fmla="*/ 35 h 97"/>
                <a:gd name="T46" fmla="*/ 29 w 57"/>
                <a:gd name="T47" fmla="*/ 35 h 97"/>
                <a:gd name="T48" fmla="*/ 16 w 57"/>
                <a:gd name="T49" fmla="*/ 40 h 97"/>
                <a:gd name="T50" fmla="*/ 12 w 57"/>
                <a:gd name="T51" fmla="*/ 56 h 97"/>
                <a:gd name="T52" fmla="*/ 12 w 57"/>
                <a:gd name="T53" fmla="*/ 65 h 97"/>
                <a:gd name="T54" fmla="*/ 16 w 57"/>
                <a:gd name="T55" fmla="*/ 81 h 97"/>
                <a:gd name="T56" fmla="*/ 29 w 57"/>
                <a:gd name="T57" fmla="*/ 87 h 97"/>
                <a:gd name="T58" fmla="*/ 37 w 57"/>
                <a:gd name="T59" fmla="*/ 86 h 97"/>
                <a:gd name="T60" fmla="*/ 45 w 57"/>
                <a:gd name="T61" fmla="*/ 86 h 97"/>
                <a:gd name="T62" fmla="*/ 45 w 57"/>
                <a:gd name="T63" fmla="*/ 35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57" h="97">
                  <a:moveTo>
                    <a:pt x="56" y="93"/>
                  </a:moveTo>
                  <a:cubicBezTo>
                    <a:pt x="56" y="94"/>
                    <a:pt x="55" y="94"/>
                    <a:pt x="54" y="94"/>
                  </a:cubicBezTo>
                  <a:cubicBezTo>
                    <a:pt x="50" y="95"/>
                    <a:pt x="46" y="96"/>
                    <a:pt x="41" y="96"/>
                  </a:cubicBezTo>
                  <a:cubicBezTo>
                    <a:pt x="37" y="96"/>
                    <a:pt x="33" y="97"/>
                    <a:pt x="29" y="97"/>
                  </a:cubicBezTo>
                  <a:cubicBezTo>
                    <a:pt x="24" y="97"/>
                    <a:pt x="20" y="96"/>
                    <a:pt x="16" y="94"/>
                  </a:cubicBezTo>
                  <a:cubicBezTo>
                    <a:pt x="13" y="93"/>
                    <a:pt x="10" y="91"/>
                    <a:pt x="7" y="88"/>
                  </a:cubicBezTo>
                  <a:cubicBezTo>
                    <a:pt x="5" y="85"/>
                    <a:pt x="3" y="82"/>
                    <a:pt x="2" y="78"/>
                  </a:cubicBezTo>
                  <a:cubicBezTo>
                    <a:pt x="1" y="74"/>
                    <a:pt x="0" y="70"/>
                    <a:pt x="0" y="65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46"/>
                    <a:pt x="3" y="38"/>
                    <a:pt x="7" y="33"/>
                  </a:cubicBezTo>
                  <a:cubicBezTo>
                    <a:pt x="12" y="27"/>
                    <a:pt x="19" y="25"/>
                    <a:pt x="29" y="25"/>
                  </a:cubicBezTo>
                  <a:cubicBezTo>
                    <a:pt x="31" y="25"/>
                    <a:pt x="34" y="25"/>
                    <a:pt x="37" y="25"/>
                  </a:cubicBezTo>
                  <a:cubicBezTo>
                    <a:pt x="40" y="25"/>
                    <a:pt x="42" y="26"/>
                    <a:pt x="45" y="26"/>
                  </a:cubicBezTo>
                  <a:cubicBezTo>
                    <a:pt x="45" y="2"/>
                    <a:pt x="45" y="2"/>
                    <a:pt x="45" y="2"/>
                  </a:cubicBezTo>
                  <a:cubicBezTo>
                    <a:pt x="45" y="2"/>
                    <a:pt x="45" y="1"/>
                    <a:pt x="46" y="1"/>
                  </a:cubicBezTo>
                  <a:cubicBezTo>
                    <a:pt x="46" y="0"/>
                    <a:pt x="47" y="0"/>
                    <a:pt x="47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5" y="0"/>
                    <a:pt x="56" y="0"/>
                    <a:pt x="56" y="1"/>
                  </a:cubicBezTo>
                  <a:cubicBezTo>
                    <a:pt x="56" y="1"/>
                    <a:pt x="57" y="2"/>
                    <a:pt x="57" y="2"/>
                  </a:cubicBezTo>
                  <a:cubicBezTo>
                    <a:pt x="57" y="91"/>
                    <a:pt x="57" y="91"/>
                    <a:pt x="57" y="91"/>
                  </a:cubicBezTo>
                  <a:cubicBezTo>
                    <a:pt x="57" y="92"/>
                    <a:pt x="57" y="93"/>
                    <a:pt x="56" y="93"/>
                  </a:cubicBezTo>
                  <a:close/>
                  <a:moveTo>
                    <a:pt x="45" y="35"/>
                  </a:moveTo>
                  <a:cubicBezTo>
                    <a:pt x="43" y="35"/>
                    <a:pt x="40" y="35"/>
                    <a:pt x="37" y="35"/>
                  </a:cubicBezTo>
                  <a:cubicBezTo>
                    <a:pt x="34" y="35"/>
                    <a:pt x="31" y="35"/>
                    <a:pt x="29" y="35"/>
                  </a:cubicBezTo>
                  <a:cubicBezTo>
                    <a:pt x="23" y="35"/>
                    <a:pt x="18" y="36"/>
                    <a:pt x="16" y="40"/>
                  </a:cubicBezTo>
                  <a:cubicBezTo>
                    <a:pt x="13" y="44"/>
                    <a:pt x="12" y="49"/>
                    <a:pt x="12" y="56"/>
                  </a:cubicBezTo>
                  <a:cubicBezTo>
                    <a:pt x="12" y="65"/>
                    <a:pt x="12" y="65"/>
                    <a:pt x="12" y="65"/>
                  </a:cubicBezTo>
                  <a:cubicBezTo>
                    <a:pt x="12" y="72"/>
                    <a:pt x="13" y="77"/>
                    <a:pt x="16" y="81"/>
                  </a:cubicBezTo>
                  <a:cubicBezTo>
                    <a:pt x="18" y="85"/>
                    <a:pt x="23" y="87"/>
                    <a:pt x="29" y="87"/>
                  </a:cubicBezTo>
                  <a:cubicBezTo>
                    <a:pt x="32" y="87"/>
                    <a:pt x="34" y="87"/>
                    <a:pt x="37" y="86"/>
                  </a:cubicBezTo>
                  <a:cubicBezTo>
                    <a:pt x="40" y="86"/>
                    <a:pt x="43" y="86"/>
                    <a:pt x="45" y="86"/>
                  </a:cubicBezTo>
                  <a:lnTo>
                    <a:pt x="45" y="3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0" name="Freeform 259">
              <a:extLst>
                <a:ext uri="{FF2B5EF4-FFF2-40B4-BE49-F238E27FC236}">
                  <a16:creationId xmlns:a16="http://schemas.microsoft.com/office/drawing/2014/main" id="{342D576C-DA7D-44C2-935C-E04E0014EC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46663" y="-2298700"/>
              <a:ext cx="180975" cy="219075"/>
            </a:xfrm>
            <a:custGeom>
              <a:avLst/>
              <a:gdLst>
                <a:gd name="T0" fmla="*/ 57 w 60"/>
                <a:gd name="T1" fmla="*/ 39 h 72"/>
                <a:gd name="T2" fmla="*/ 12 w 60"/>
                <a:gd name="T3" fmla="*/ 39 h 72"/>
                <a:gd name="T4" fmla="*/ 12 w 60"/>
                <a:gd name="T5" fmla="*/ 41 h 72"/>
                <a:gd name="T6" fmla="*/ 17 w 60"/>
                <a:gd name="T7" fmla="*/ 57 h 72"/>
                <a:gd name="T8" fmla="*/ 31 w 60"/>
                <a:gd name="T9" fmla="*/ 62 h 72"/>
                <a:gd name="T10" fmla="*/ 43 w 60"/>
                <a:gd name="T11" fmla="*/ 61 h 72"/>
                <a:gd name="T12" fmla="*/ 55 w 60"/>
                <a:gd name="T13" fmla="*/ 60 h 72"/>
                <a:gd name="T14" fmla="*/ 55 w 60"/>
                <a:gd name="T15" fmla="*/ 60 h 72"/>
                <a:gd name="T16" fmla="*/ 57 w 60"/>
                <a:gd name="T17" fmla="*/ 61 h 72"/>
                <a:gd name="T18" fmla="*/ 57 w 60"/>
                <a:gd name="T19" fmla="*/ 62 h 72"/>
                <a:gd name="T20" fmla="*/ 57 w 60"/>
                <a:gd name="T21" fmla="*/ 66 h 72"/>
                <a:gd name="T22" fmla="*/ 57 w 60"/>
                <a:gd name="T23" fmla="*/ 68 h 72"/>
                <a:gd name="T24" fmla="*/ 55 w 60"/>
                <a:gd name="T25" fmla="*/ 69 h 72"/>
                <a:gd name="T26" fmla="*/ 43 w 60"/>
                <a:gd name="T27" fmla="*/ 71 h 72"/>
                <a:gd name="T28" fmla="*/ 31 w 60"/>
                <a:gd name="T29" fmla="*/ 72 h 72"/>
                <a:gd name="T30" fmla="*/ 20 w 60"/>
                <a:gd name="T31" fmla="*/ 70 h 72"/>
                <a:gd name="T32" fmla="*/ 10 w 60"/>
                <a:gd name="T33" fmla="*/ 65 h 72"/>
                <a:gd name="T34" fmla="*/ 3 w 60"/>
                <a:gd name="T35" fmla="*/ 56 h 72"/>
                <a:gd name="T36" fmla="*/ 0 w 60"/>
                <a:gd name="T37" fmla="*/ 41 h 72"/>
                <a:gd name="T38" fmla="*/ 0 w 60"/>
                <a:gd name="T39" fmla="*/ 29 h 72"/>
                <a:gd name="T40" fmla="*/ 8 w 60"/>
                <a:gd name="T41" fmla="*/ 8 h 72"/>
                <a:gd name="T42" fmla="*/ 30 w 60"/>
                <a:gd name="T43" fmla="*/ 0 h 72"/>
                <a:gd name="T44" fmla="*/ 43 w 60"/>
                <a:gd name="T45" fmla="*/ 2 h 72"/>
                <a:gd name="T46" fmla="*/ 52 w 60"/>
                <a:gd name="T47" fmla="*/ 8 h 72"/>
                <a:gd name="T48" fmla="*/ 58 w 60"/>
                <a:gd name="T49" fmla="*/ 17 h 72"/>
                <a:gd name="T50" fmla="*/ 60 w 60"/>
                <a:gd name="T51" fmla="*/ 29 h 72"/>
                <a:gd name="T52" fmla="*/ 60 w 60"/>
                <a:gd name="T53" fmla="*/ 36 h 72"/>
                <a:gd name="T54" fmla="*/ 57 w 60"/>
                <a:gd name="T55" fmla="*/ 39 h 72"/>
                <a:gd name="T56" fmla="*/ 48 w 60"/>
                <a:gd name="T57" fmla="*/ 29 h 72"/>
                <a:gd name="T58" fmla="*/ 43 w 60"/>
                <a:gd name="T59" fmla="*/ 14 h 72"/>
                <a:gd name="T60" fmla="*/ 30 w 60"/>
                <a:gd name="T61" fmla="*/ 10 h 72"/>
                <a:gd name="T62" fmla="*/ 17 w 60"/>
                <a:gd name="T63" fmla="*/ 14 h 72"/>
                <a:gd name="T64" fmla="*/ 12 w 60"/>
                <a:gd name="T65" fmla="*/ 29 h 72"/>
                <a:gd name="T66" fmla="*/ 12 w 60"/>
                <a:gd name="T67" fmla="*/ 31 h 72"/>
                <a:gd name="T68" fmla="*/ 48 w 60"/>
                <a:gd name="T69" fmla="*/ 31 h 72"/>
                <a:gd name="T70" fmla="*/ 48 w 60"/>
                <a:gd name="T71" fmla="*/ 29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60" h="72">
                  <a:moveTo>
                    <a:pt x="57" y="39"/>
                  </a:moveTo>
                  <a:cubicBezTo>
                    <a:pt x="12" y="39"/>
                    <a:pt x="12" y="39"/>
                    <a:pt x="12" y="39"/>
                  </a:cubicBezTo>
                  <a:cubicBezTo>
                    <a:pt x="12" y="41"/>
                    <a:pt x="12" y="41"/>
                    <a:pt x="12" y="41"/>
                  </a:cubicBezTo>
                  <a:cubicBezTo>
                    <a:pt x="12" y="49"/>
                    <a:pt x="14" y="54"/>
                    <a:pt x="17" y="57"/>
                  </a:cubicBezTo>
                  <a:cubicBezTo>
                    <a:pt x="20" y="60"/>
                    <a:pt x="25" y="62"/>
                    <a:pt x="31" y="62"/>
                  </a:cubicBezTo>
                  <a:cubicBezTo>
                    <a:pt x="35" y="62"/>
                    <a:pt x="39" y="62"/>
                    <a:pt x="43" y="61"/>
                  </a:cubicBezTo>
                  <a:cubicBezTo>
                    <a:pt x="48" y="61"/>
                    <a:pt x="51" y="61"/>
                    <a:pt x="55" y="60"/>
                  </a:cubicBezTo>
                  <a:cubicBezTo>
                    <a:pt x="55" y="60"/>
                    <a:pt x="55" y="60"/>
                    <a:pt x="55" y="60"/>
                  </a:cubicBezTo>
                  <a:cubicBezTo>
                    <a:pt x="56" y="60"/>
                    <a:pt x="56" y="60"/>
                    <a:pt x="57" y="61"/>
                  </a:cubicBezTo>
                  <a:cubicBezTo>
                    <a:pt x="57" y="61"/>
                    <a:pt x="57" y="61"/>
                    <a:pt x="57" y="62"/>
                  </a:cubicBezTo>
                  <a:cubicBezTo>
                    <a:pt x="57" y="66"/>
                    <a:pt x="57" y="66"/>
                    <a:pt x="57" y="66"/>
                  </a:cubicBezTo>
                  <a:cubicBezTo>
                    <a:pt x="57" y="67"/>
                    <a:pt x="57" y="68"/>
                    <a:pt x="57" y="68"/>
                  </a:cubicBezTo>
                  <a:cubicBezTo>
                    <a:pt x="56" y="69"/>
                    <a:pt x="56" y="69"/>
                    <a:pt x="55" y="69"/>
                  </a:cubicBezTo>
                  <a:cubicBezTo>
                    <a:pt x="51" y="70"/>
                    <a:pt x="47" y="71"/>
                    <a:pt x="43" y="71"/>
                  </a:cubicBezTo>
                  <a:cubicBezTo>
                    <a:pt x="39" y="71"/>
                    <a:pt x="35" y="72"/>
                    <a:pt x="31" y="72"/>
                  </a:cubicBezTo>
                  <a:cubicBezTo>
                    <a:pt x="27" y="72"/>
                    <a:pt x="23" y="71"/>
                    <a:pt x="20" y="70"/>
                  </a:cubicBezTo>
                  <a:cubicBezTo>
                    <a:pt x="16" y="69"/>
                    <a:pt x="13" y="67"/>
                    <a:pt x="10" y="65"/>
                  </a:cubicBezTo>
                  <a:cubicBezTo>
                    <a:pt x="7" y="63"/>
                    <a:pt x="5" y="60"/>
                    <a:pt x="3" y="56"/>
                  </a:cubicBezTo>
                  <a:cubicBezTo>
                    <a:pt x="1" y="52"/>
                    <a:pt x="0" y="47"/>
                    <a:pt x="0" y="41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20"/>
                    <a:pt x="3" y="13"/>
                    <a:pt x="8" y="8"/>
                  </a:cubicBezTo>
                  <a:cubicBezTo>
                    <a:pt x="13" y="2"/>
                    <a:pt x="20" y="0"/>
                    <a:pt x="30" y="0"/>
                  </a:cubicBezTo>
                  <a:cubicBezTo>
                    <a:pt x="35" y="0"/>
                    <a:pt x="39" y="0"/>
                    <a:pt x="43" y="2"/>
                  </a:cubicBezTo>
                  <a:cubicBezTo>
                    <a:pt x="47" y="3"/>
                    <a:pt x="50" y="5"/>
                    <a:pt x="52" y="8"/>
                  </a:cubicBezTo>
                  <a:cubicBezTo>
                    <a:pt x="55" y="10"/>
                    <a:pt x="56" y="14"/>
                    <a:pt x="58" y="17"/>
                  </a:cubicBezTo>
                  <a:cubicBezTo>
                    <a:pt x="59" y="21"/>
                    <a:pt x="60" y="25"/>
                    <a:pt x="60" y="29"/>
                  </a:cubicBezTo>
                  <a:cubicBezTo>
                    <a:pt x="60" y="36"/>
                    <a:pt x="60" y="36"/>
                    <a:pt x="60" y="36"/>
                  </a:cubicBezTo>
                  <a:cubicBezTo>
                    <a:pt x="60" y="38"/>
                    <a:pt x="59" y="39"/>
                    <a:pt x="57" y="39"/>
                  </a:cubicBezTo>
                  <a:close/>
                  <a:moveTo>
                    <a:pt x="48" y="29"/>
                  </a:moveTo>
                  <a:cubicBezTo>
                    <a:pt x="48" y="22"/>
                    <a:pt x="46" y="17"/>
                    <a:pt x="43" y="14"/>
                  </a:cubicBezTo>
                  <a:cubicBezTo>
                    <a:pt x="40" y="11"/>
                    <a:pt x="36" y="10"/>
                    <a:pt x="30" y="10"/>
                  </a:cubicBezTo>
                  <a:cubicBezTo>
                    <a:pt x="24" y="10"/>
                    <a:pt x="20" y="11"/>
                    <a:pt x="17" y="14"/>
                  </a:cubicBezTo>
                  <a:cubicBezTo>
                    <a:pt x="14" y="18"/>
                    <a:pt x="12" y="23"/>
                    <a:pt x="12" y="29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48" y="31"/>
                    <a:pt x="48" y="31"/>
                    <a:pt x="48" y="31"/>
                  </a:cubicBezTo>
                  <a:lnTo>
                    <a:pt x="48" y="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1" name="Freeform 260">
              <a:extLst>
                <a:ext uri="{FF2B5EF4-FFF2-40B4-BE49-F238E27FC236}">
                  <a16:creationId xmlns:a16="http://schemas.microsoft.com/office/drawing/2014/main" id="{99DF15AA-C9D1-4CA2-9AEA-7581D335B35E}"/>
                </a:ext>
              </a:extLst>
            </p:cNvPr>
            <p:cNvSpPr>
              <a:spLocks/>
            </p:cNvSpPr>
            <p:nvPr/>
          </p:nvSpPr>
          <p:spPr bwMode="auto">
            <a:xfrm>
              <a:off x="5265738" y="-2298700"/>
              <a:ext cx="147637" cy="219075"/>
            </a:xfrm>
            <a:custGeom>
              <a:avLst/>
              <a:gdLst>
                <a:gd name="T0" fmla="*/ 49 w 49"/>
                <a:gd name="T1" fmla="*/ 53 h 72"/>
                <a:gd name="T2" fmla="*/ 42 w 49"/>
                <a:gd name="T3" fmla="*/ 67 h 72"/>
                <a:gd name="T4" fmla="*/ 24 w 49"/>
                <a:gd name="T5" fmla="*/ 72 h 72"/>
                <a:gd name="T6" fmla="*/ 20 w 49"/>
                <a:gd name="T7" fmla="*/ 71 h 72"/>
                <a:gd name="T8" fmla="*/ 14 w 49"/>
                <a:gd name="T9" fmla="*/ 71 h 72"/>
                <a:gd name="T10" fmla="*/ 8 w 49"/>
                <a:gd name="T11" fmla="*/ 70 h 72"/>
                <a:gd name="T12" fmla="*/ 3 w 49"/>
                <a:gd name="T13" fmla="*/ 70 h 72"/>
                <a:gd name="T14" fmla="*/ 0 w 49"/>
                <a:gd name="T15" fmla="*/ 67 h 72"/>
                <a:gd name="T16" fmla="*/ 0 w 49"/>
                <a:gd name="T17" fmla="*/ 63 h 72"/>
                <a:gd name="T18" fmla="*/ 1 w 49"/>
                <a:gd name="T19" fmla="*/ 61 h 72"/>
                <a:gd name="T20" fmla="*/ 3 w 49"/>
                <a:gd name="T21" fmla="*/ 61 h 72"/>
                <a:gd name="T22" fmla="*/ 3 w 49"/>
                <a:gd name="T23" fmla="*/ 61 h 72"/>
                <a:gd name="T24" fmla="*/ 8 w 49"/>
                <a:gd name="T25" fmla="*/ 61 h 72"/>
                <a:gd name="T26" fmla="*/ 14 w 49"/>
                <a:gd name="T27" fmla="*/ 62 h 72"/>
                <a:gd name="T28" fmla="*/ 20 w 49"/>
                <a:gd name="T29" fmla="*/ 62 h 72"/>
                <a:gd name="T30" fmla="*/ 24 w 49"/>
                <a:gd name="T31" fmla="*/ 62 h 72"/>
                <a:gd name="T32" fmla="*/ 34 w 49"/>
                <a:gd name="T33" fmla="*/ 60 h 72"/>
                <a:gd name="T34" fmla="*/ 37 w 49"/>
                <a:gd name="T35" fmla="*/ 53 h 72"/>
                <a:gd name="T36" fmla="*/ 35 w 49"/>
                <a:gd name="T37" fmla="*/ 48 h 72"/>
                <a:gd name="T38" fmla="*/ 27 w 49"/>
                <a:gd name="T39" fmla="*/ 42 h 72"/>
                <a:gd name="T40" fmla="*/ 14 w 49"/>
                <a:gd name="T41" fmla="*/ 35 h 72"/>
                <a:gd name="T42" fmla="*/ 4 w 49"/>
                <a:gd name="T43" fmla="*/ 27 h 72"/>
                <a:gd name="T44" fmla="*/ 0 w 49"/>
                <a:gd name="T45" fmla="*/ 17 h 72"/>
                <a:gd name="T46" fmla="*/ 2 w 49"/>
                <a:gd name="T47" fmla="*/ 8 h 72"/>
                <a:gd name="T48" fmla="*/ 7 w 49"/>
                <a:gd name="T49" fmla="*/ 3 h 72"/>
                <a:gd name="T50" fmla="*/ 15 w 49"/>
                <a:gd name="T51" fmla="*/ 0 h 72"/>
                <a:gd name="T52" fmla="*/ 24 w 49"/>
                <a:gd name="T53" fmla="*/ 0 h 72"/>
                <a:gd name="T54" fmla="*/ 35 w 49"/>
                <a:gd name="T55" fmla="*/ 0 h 72"/>
                <a:gd name="T56" fmla="*/ 45 w 49"/>
                <a:gd name="T57" fmla="*/ 1 h 72"/>
                <a:gd name="T58" fmla="*/ 48 w 49"/>
                <a:gd name="T59" fmla="*/ 4 h 72"/>
                <a:gd name="T60" fmla="*/ 48 w 49"/>
                <a:gd name="T61" fmla="*/ 8 h 72"/>
                <a:gd name="T62" fmla="*/ 45 w 49"/>
                <a:gd name="T63" fmla="*/ 10 h 72"/>
                <a:gd name="T64" fmla="*/ 45 w 49"/>
                <a:gd name="T65" fmla="*/ 10 h 72"/>
                <a:gd name="T66" fmla="*/ 36 w 49"/>
                <a:gd name="T67" fmla="*/ 10 h 72"/>
                <a:gd name="T68" fmla="*/ 24 w 49"/>
                <a:gd name="T69" fmla="*/ 9 h 72"/>
                <a:gd name="T70" fmla="*/ 15 w 49"/>
                <a:gd name="T71" fmla="*/ 11 h 72"/>
                <a:gd name="T72" fmla="*/ 12 w 49"/>
                <a:gd name="T73" fmla="*/ 17 h 72"/>
                <a:gd name="T74" fmla="*/ 14 w 49"/>
                <a:gd name="T75" fmla="*/ 22 h 72"/>
                <a:gd name="T76" fmla="*/ 21 w 49"/>
                <a:gd name="T77" fmla="*/ 26 h 72"/>
                <a:gd name="T78" fmla="*/ 34 w 49"/>
                <a:gd name="T79" fmla="*/ 34 h 72"/>
                <a:gd name="T80" fmla="*/ 46 w 49"/>
                <a:gd name="T81" fmla="*/ 43 h 72"/>
                <a:gd name="T82" fmla="*/ 49 w 49"/>
                <a:gd name="T83" fmla="*/ 53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9" h="72">
                  <a:moveTo>
                    <a:pt x="49" y="53"/>
                  </a:moveTo>
                  <a:cubicBezTo>
                    <a:pt x="49" y="59"/>
                    <a:pt x="47" y="64"/>
                    <a:pt x="42" y="67"/>
                  </a:cubicBezTo>
                  <a:cubicBezTo>
                    <a:pt x="38" y="70"/>
                    <a:pt x="32" y="72"/>
                    <a:pt x="24" y="72"/>
                  </a:cubicBezTo>
                  <a:cubicBezTo>
                    <a:pt x="23" y="72"/>
                    <a:pt x="21" y="71"/>
                    <a:pt x="20" y="71"/>
                  </a:cubicBezTo>
                  <a:cubicBezTo>
                    <a:pt x="18" y="71"/>
                    <a:pt x="16" y="71"/>
                    <a:pt x="14" y="71"/>
                  </a:cubicBezTo>
                  <a:cubicBezTo>
                    <a:pt x="12" y="71"/>
                    <a:pt x="10" y="71"/>
                    <a:pt x="8" y="70"/>
                  </a:cubicBezTo>
                  <a:cubicBezTo>
                    <a:pt x="6" y="70"/>
                    <a:pt x="5" y="70"/>
                    <a:pt x="3" y="70"/>
                  </a:cubicBezTo>
                  <a:cubicBezTo>
                    <a:pt x="1" y="69"/>
                    <a:pt x="0" y="68"/>
                    <a:pt x="0" y="67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0" y="62"/>
                    <a:pt x="0" y="62"/>
                    <a:pt x="1" y="61"/>
                  </a:cubicBezTo>
                  <a:cubicBezTo>
                    <a:pt x="1" y="61"/>
                    <a:pt x="2" y="61"/>
                    <a:pt x="3" y="61"/>
                  </a:cubicBezTo>
                  <a:cubicBezTo>
                    <a:pt x="3" y="61"/>
                    <a:pt x="3" y="61"/>
                    <a:pt x="3" y="61"/>
                  </a:cubicBezTo>
                  <a:cubicBezTo>
                    <a:pt x="5" y="61"/>
                    <a:pt x="6" y="61"/>
                    <a:pt x="8" y="61"/>
                  </a:cubicBezTo>
                  <a:cubicBezTo>
                    <a:pt x="10" y="61"/>
                    <a:pt x="12" y="62"/>
                    <a:pt x="14" y="62"/>
                  </a:cubicBezTo>
                  <a:cubicBezTo>
                    <a:pt x="16" y="62"/>
                    <a:pt x="18" y="62"/>
                    <a:pt x="20" y="62"/>
                  </a:cubicBezTo>
                  <a:cubicBezTo>
                    <a:pt x="21" y="62"/>
                    <a:pt x="23" y="62"/>
                    <a:pt x="24" y="62"/>
                  </a:cubicBezTo>
                  <a:cubicBezTo>
                    <a:pt x="28" y="62"/>
                    <a:pt x="32" y="61"/>
                    <a:pt x="34" y="60"/>
                  </a:cubicBezTo>
                  <a:cubicBezTo>
                    <a:pt x="36" y="59"/>
                    <a:pt x="37" y="57"/>
                    <a:pt x="37" y="53"/>
                  </a:cubicBezTo>
                  <a:cubicBezTo>
                    <a:pt x="37" y="51"/>
                    <a:pt x="37" y="49"/>
                    <a:pt x="35" y="48"/>
                  </a:cubicBezTo>
                  <a:cubicBezTo>
                    <a:pt x="34" y="47"/>
                    <a:pt x="31" y="45"/>
                    <a:pt x="27" y="42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0" y="32"/>
                    <a:pt x="6" y="30"/>
                    <a:pt x="4" y="27"/>
                  </a:cubicBezTo>
                  <a:cubicBezTo>
                    <a:pt x="1" y="24"/>
                    <a:pt x="0" y="21"/>
                    <a:pt x="0" y="17"/>
                  </a:cubicBezTo>
                  <a:cubicBezTo>
                    <a:pt x="0" y="13"/>
                    <a:pt x="1" y="11"/>
                    <a:pt x="2" y="8"/>
                  </a:cubicBezTo>
                  <a:cubicBezTo>
                    <a:pt x="3" y="6"/>
                    <a:pt x="5" y="5"/>
                    <a:pt x="7" y="3"/>
                  </a:cubicBezTo>
                  <a:cubicBezTo>
                    <a:pt x="9" y="2"/>
                    <a:pt x="12" y="1"/>
                    <a:pt x="15" y="0"/>
                  </a:cubicBezTo>
                  <a:cubicBezTo>
                    <a:pt x="18" y="0"/>
                    <a:pt x="21" y="0"/>
                    <a:pt x="24" y="0"/>
                  </a:cubicBezTo>
                  <a:cubicBezTo>
                    <a:pt x="28" y="0"/>
                    <a:pt x="32" y="0"/>
                    <a:pt x="35" y="0"/>
                  </a:cubicBezTo>
                  <a:cubicBezTo>
                    <a:pt x="39" y="0"/>
                    <a:pt x="42" y="1"/>
                    <a:pt x="45" y="1"/>
                  </a:cubicBezTo>
                  <a:cubicBezTo>
                    <a:pt x="47" y="2"/>
                    <a:pt x="48" y="2"/>
                    <a:pt x="48" y="4"/>
                  </a:cubicBezTo>
                  <a:cubicBezTo>
                    <a:pt x="48" y="8"/>
                    <a:pt x="48" y="8"/>
                    <a:pt x="48" y="8"/>
                  </a:cubicBezTo>
                  <a:cubicBezTo>
                    <a:pt x="48" y="10"/>
                    <a:pt x="47" y="10"/>
                    <a:pt x="45" y="10"/>
                  </a:cubicBezTo>
                  <a:cubicBezTo>
                    <a:pt x="45" y="10"/>
                    <a:pt x="45" y="10"/>
                    <a:pt x="45" y="10"/>
                  </a:cubicBezTo>
                  <a:cubicBezTo>
                    <a:pt x="43" y="10"/>
                    <a:pt x="40" y="10"/>
                    <a:pt x="36" y="10"/>
                  </a:cubicBezTo>
                  <a:cubicBezTo>
                    <a:pt x="32" y="9"/>
                    <a:pt x="28" y="9"/>
                    <a:pt x="24" y="9"/>
                  </a:cubicBezTo>
                  <a:cubicBezTo>
                    <a:pt x="21" y="9"/>
                    <a:pt x="18" y="10"/>
                    <a:pt x="15" y="11"/>
                  </a:cubicBezTo>
                  <a:cubicBezTo>
                    <a:pt x="13" y="11"/>
                    <a:pt x="12" y="13"/>
                    <a:pt x="12" y="17"/>
                  </a:cubicBezTo>
                  <a:cubicBezTo>
                    <a:pt x="12" y="19"/>
                    <a:pt x="13" y="20"/>
                    <a:pt x="14" y="22"/>
                  </a:cubicBezTo>
                  <a:cubicBezTo>
                    <a:pt x="16" y="23"/>
                    <a:pt x="18" y="25"/>
                    <a:pt x="21" y="26"/>
                  </a:cubicBezTo>
                  <a:cubicBezTo>
                    <a:pt x="34" y="34"/>
                    <a:pt x="34" y="34"/>
                    <a:pt x="34" y="34"/>
                  </a:cubicBezTo>
                  <a:cubicBezTo>
                    <a:pt x="40" y="37"/>
                    <a:pt x="44" y="40"/>
                    <a:pt x="46" y="43"/>
                  </a:cubicBezTo>
                  <a:cubicBezTo>
                    <a:pt x="48" y="46"/>
                    <a:pt x="49" y="49"/>
                    <a:pt x="49" y="5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2" name="Rectangle 261">
              <a:extLst>
                <a:ext uri="{FF2B5EF4-FFF2-40B4-BE49-F238E27FC236}">
                  <a16:creationId xmlns:a16="http://schemas.microsoft.com/office/drawing/2014/main" id="{0302B77C-CA7F-4E16-8609-8C344314627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10075" y="-2116138"/>
              <a:ext cx="165100" cy="333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3" name="Freeform 262">
              <a:extLst>
                <a:ext uri="{FF2B5EF4-FFF2-40B4-BE49-F238E27FC236}">
                  <a16:creationId xmlns:a16="http://schemas.microsoft.com/office/drawing/2014/main" id="{7962BEA8-8CE2-4E19-AC59-9F2811A576F1}"/>
                </a:ext>
              </a:extLst>
            </p:cNvPr>
            <p:cNvSpPr>
              <a:spLocks/>
            </p:cNvSpPr>
            <p:nvPr/>
          </p:nvSpPr>
          <p:spPr bwMode="auto">
            <a:xfrm>
              <a:off x="4419600" y="-2374900"/>
              <a:ext cx="168275" cy="292100"/>
            </a:xfrm>
            <a:custGeom>
              <a:avLst/>
              <a:gdLst>
                <a:gd name="T0" fmla="*/ 7 w 56"/>
                <a:gd name="T1" fmla="*/ 5 h 96"/>
                <a:gd name="T2" fmla="*/ 30 w 56"/>
                <a:gd name="T3" fmla="*/ 0 h 96"/>
                <a:gd name="T4" fmla="*/ 41 w 56"/>
                <a:gd name="T5" fmla="*/ 0 h 96"/>
                <a:gd name="T6" fmla="*/ 52 w 56"/>
                <a:gd name="T7" fmla="*/ 2 h 96"/>
                <a:gd name="T8" fmla="*/ 54 w 56"/>
                <a:gd name="T9" fmla="*/ 3 h 96"/>
                <a:gd name="T10" fmla="*/ 54 w 56"/>
                <a:gd name="T11" fmla="*/ 5 h 96"/>
                <a:gd name="T12" fmla="*/ 54 w 56"/>
                <a:gd name="T13" fmla="*/ 9 h 96"/>
                <a:gd name="T14" fmla="*/ 52 w 56"/>
                <a:gd name="T15" fmla="*/ 12 h 96"/>
                <a:gd name="T16" fmla="*/ 52 w 56"/>
                <a:gd name="T17" fmla="*/ 12 h 96"/>
                <a:gd name="T18" fmla="*/ 41 w 56"/>
                <a:gd name="T19" fmla="*/ 10 h 96"/>
                <a:gd name="T20" fmla="*/ 30 w 56"/>
                <a:gd name="T21" fmla="*/ 10 h 96"/>
                <a:gd name="T22" fmla="*/ 15 w 56"/>
                <a:gd name="T23" fmla="*/ 13 h 96"/>
                <a:gd name="T24" fmla="*/ 11 w 56"/>
                <a:gd name="T25" fmla="*/ 23 h 96"/>
                <a:gd name="T26" fmla="*/ 11 w 56"/>
                <a:gd name="T27" fmla="*/ 28 h 96"/>
                <a:gd name="T28" fmla="*/ 13 w 56"/>
                <a:gd name="T29" fmla="*/ 32 h 96"/>
                <a:gd name="T30" fmla="*/ 17 w 56"/>
                <a:gd name="T31" fmla="*/ 36 h 96"/>
                <a:gd name="T32" fmla="*/ 24 w 56"/>
                <a:gd name="T33" fmla="*/ 41 h 96"/>
                <a:gd name="T34" fmla="*/ 36 w 56"/>
                <a:gd name="T35" fmla="*/ 49 h 96"/>
                <a:gd name="T36" fmla="*/ 51 w 56"/>
                <a:gd name="T37" fmla="*/ 65 h 96"/>
                <a:gd name="T38" fmla="*/ 56 w 56"/>
                <a:gd name="T39" fmla="*/ 83 h 96"/>
                <a:gd name="T40" fmla="*/ 56 w 56"/>
                <a:gd name="T41" fmla="*/ 93 h 96"/>
                <a:gd name="T42" fmla="*/ 55 w 56"/>
                <a:gd name="T43" fmla="*/ 95 h 96"/>
                <a:gd name="T44" fmla="*/ 53 w 56"/>
                <a:gd name="T45" fmla="*/ 96 h 96"/>
                <a:gd name="T46" fmla="*/ 3 w 56"/>
                <a:gd name="T47" fmla="*/ 96 h 96"/>
                <a:gd name="T48" fmla="*/ 2 w 56"/>
                <a:gd name="T49" fmla="*/ 95 h 96"/>
                <a:gd name="T50" fmla="*/ 1 w 56"/>
                <a:gd name="T51" fmla="*/ 93 h 96"/>
                <a:gd name="T52" fmla="*/ 1 w 56"/>
                <a:gd name="T53" fmla="*/ 88 h 96"/>
                <a:gd name="T54" fmla="*/ 2 w 56"/>
                <a:gd name="T55" fmla="*/ 86 h 96"/>
                <a:gd name="T56" fmla="*/ 3 w 56"/>
                <a:gd name="T57" fmla="*/ 85 h 96"/>
                <a:gd name="T58" fmla="*/ 46 w 56"/>
                <a:gd name="T59" fmla="*/ 85 h 96"/>
                <a:gd name="T60" fmla="*/ 46 w 56"/>
                <a:gd name="T61" fmla="*/ 83 h 96"/>
                <a:gd name="T62" fmla="*/ 45 w 56"/>
                <a:gd name="T63" fmla="*/ 75 h 96"/>
                <a:gd name="T64" fmla="*/ 42 w 56"/>
                <a:gd name="T65" fmla="*/ 69 h 96"/>
                <a:gd name="T66" fmla="*/ 37 w 56"/>
                <a:gd name="T67" fmla="*/ 62 h 96"/>
                <a:gd name="T68" fmla="*/ 28 w 56"/>
                <a:gd name="T69" fmla="*/ 56 h 96"/>
                <a:gd name="T70" fmla="*/ 16 w 56"/>
                <a:gd name="T71" fmla="*/ 47 h 96"/>
                <a:gd name="T72" fmla="*/ 3 w 56"/>
                <a:gd name="T73" fmla="*/ 36 h 96"/>
                <a:gd name="T74" fmla="*/ 0 w 56"/>
                <a:gd name="T75" fmla="*/ 23 h 96"/>
                <a:gd name="T76" fmla="*/ 7 w 56"/>
                <a:gd name="T77" fmla="*/ 5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56" h="96">
                  <a:moveTo>
                    <a:pt x="7" y="5"/>
                  </a:moveTo>
                  <a:cubicBezTo>
                    <a:pt x="12" y="2"/>
                    <a:pt x="19" y="0"/>
                    <a:pt x="30" y="0"/>
                  </a:cubicBezTo>
                  <a:cubicBezTo>
                    <a:pt x="33" y="0"/>
                    <a:pt x="37" y="0"/>
                    <a:pt x="41" y="0"/>
                  </a:cubicBezTo>
                  <a:cubicBezTo>
                    <a:pt x="45" y="1"/>
                    <a:pt x="49" y="1"/>
                    <a:pt x="52" y="2"/>
                  </a:cubicBezTo>
                  <a:cubicBezTo>
                    <a:pt x="53" y="3"/>
                    <a:pt x="53" y="3"/>
                    <a:pt x="54" y="3"/>
                  </a:cubicBezTo>
                  <a:cubicBezTo>
                    <a:pt x="54" y="3"/>
                    <a:pt x="54" y="4"/>
                    <a:pt x="54" y="5"/>
                  </a:cubicBezTo>
                  <a:cubicBezTo>
                    <a:pt x="54" y="9"/>
                    <a:pt x="54" y="9"/>
                    <a:pt x="54" y="9"/>
                  </a:cubicBezTo>
                  <a:cubicBezTo>
                    <a:pt x="54" y="11"/>
                    <a:pt x="54" y="12"/>
                    <a:pt x="52" y="12"/>
                  </a:cubicBezTo>
                  <a:cubicBezTo>
                    <a:pt x="52" y="12"/>
                    <a:pt x="52" y="12"/>
                    <a:pt x="52" y="12"/>
                  </a:cubicBezTo>
                  <a:cubicBezTo>
                    <a:pt x="48" y="11"/>
                    <a:pt x="45" y="11"/>
                    <a:pt x="41" y="10"/>
                  </a:cubicBezTo>
                  <a:cubicBezTo>
                    <a:pt x="37" y="10"/>
                    <a:pt x="33" y="10"/>
                    <a:pt x="30" y="10"/>
                  </a:cubicBezTo>
                  <a:cubicBezTo>
                    <a:pt x="23" y="10"/>
                    <a:pt x="18" y="11"/>
                    <a:pt x="15" y="13"/>
                  </a:cubicBezTo>
                  <a:cubicBezTo>
                    <a:pt x="12" y="15"/>
                    <a:pt x="11" y="18"/>
                    <a:pt x="11" y="23"/>
                  </a:cubicBezTo>
                  <a:cubicBezTo>
                    <a:pt x="11" y="25"/>
                    <a:pt x="11" y="26"/>
                    <a:pt x="11" y="28"/>
                  </a:cubicBezTo>
                  <a:cubicBezTo>
                    <a:pt x="12" y="29"/>
                    <a:pt x="12" y="31"/>
                    <a:pt x="13" y="32"/>
                  </a:cubicBezTo>
                  <a:cubicBezTo>
                    <a:pt x="14" y="33"/>
                    <a:pt x="16" y="35"/>
                    <a:pt x="17" y="36"/>
                  </a:cubicBezTo>
                  <a:cubicBezTo>
                    <a:pt x="19" y="37"/>
                    <a:pt x="21" y="39"/>
                    <a:pt x="24" y="41"/>
                  </a:cubicBezTo>
                  <a:cubicBezTo>
                    <a:pt x="36" y="49"/>
                    <a:pt x="36" y="49"/>
                    <a:pt x="36" y="49"/>
                  </a:cubicBezTo>
                  <a:cubicBezTo>
                    <a:pt x="43" y="54"/>
                    <a:pt x="48" y="59"/>
                    <a:pt x="51" y="65"/>
                  </a:cubicBezTo>
                  <a:cubicBezTo>
                    <a:pt x="54" y="70"/>
                    <a:pt x="56" y="76"/>
                    <a:pt x="56" y="83"/>
                  </a:cubicBezTo>
                  <a:cubicBezTo>
                    <a:pt x="56" y="93"/>
                    <a:pt x="56" y="93"/>
                    <a:pt x="56" y="93"/>
                  </a:cubicBezTo>
                  <a:cubicBezTo>
                    <a:pt x="56" y="94"/>
                    <a:pt x="56" y="94"/>
                    <a:pt x="55" y="95"/>
                  </a:cubicBezTo>
                  <a:cubicBezTo>
                    <a:pt x="55" y="95"/>
                    <a:pt x="54" y="96"/>
                    <a:pt x="53" y="96"/>
                  </a:cubicBezTo>
                  <a:cubicBezTo>
                    <a:pt x="3" y="96"/>
                    <a:pt x="3" y="96"/>
                    <a:pt x="3" y="96"/>
                  </a:cubicBezTo>
                  <a:cubicBezTo>
                    <a:pt x="3" y="96"/>
                    <a:pt x="2" y="95"/>
                    <a:pt x="2" y="95"/>
                  </a:cubicBezTo>
                  <a:cubicBezTo>
                    <a:pt x="1" y="94"/>
                    <a:pt x="1" y="94"/>
                    <a:pt x="1" y="93"/>
                  </a:cubicBezTo>
                  <a:cubicBezTo>
                    <a:pt x="1" y="88"/>
                    <a:pt x="1" y="88"/>
                    <a:pt x="1" y="88"/>
                  </a:cubicBezTo>
                  <a:cubicBezTo>
                    <a:pt x="1" y="87"/>
                    <a:pt x="1" y="86"/>
                    <a:pt x="2" y="86"/>
                  </a:cubicBezTo>
                  <a:cubicBezTo>
                    <a:pt x="2" y="86"/>
                    <a:pt x="3" y="85"/>
                    <a:pt x="3" y="85"/>
                  </a:cubicBezTo>
                  <a:cubicBezTo>
                    <a:pt x="46" y="85"/>
                    <a:pt x="46" y="85"/>
                    <a:pt x="46" y="85"/>
                  </a:cubicBezTo>
                  <a:cubicBezTo>
                    <a:pt x="46" y="83"/>
                    <a:pt x="46" y="83"/>
                    <a:pt x="46" y="83"/>
                  </a:cubicBezTo>
                  <a:cubicBezTo>
                    <a:pt x="46" y="80"/>
                    <a:pt x="46" y="77"/>
                    <a:pt x="45" y="75"/>
                  </a:cubicBezTo>
                  <a:cubicBezTo>
                    <a:pt x="44" y="73"/>
                    <a:pt x="44" y="71"/>
                    <a:pt x="42" y="69"/>
                  </a:cubicBezTo>
                  <a:cubicBezTo>
                    <a:pt x="41" y="66"/>
                    <a:pt x="39" y="64"/>
                    <a:pt x="37" y="62"/>
                  </a:cubicBezTo>
                  <a:cubicBezTo>
                    <a:pt x="35" y="60"/>
                    <a:pt x="32" y="58"/>
                    <a:pt x="28" y="56"/>
                  </a:cubicBezTo>
                  <a:cubicBezTo>
                    <a:pt x="16" y="47"/>
                    <a:pt x="16" y="47"/>
                    <a:pt x="16" y="47"/>
                  </a:cubicBezTo>
                  <a:cubicBezTo>
                    <a:pt x="10" y="43"/>
                    <a:pt x="6" y="39"/>
                    <a:pt x="3" y="36"/>
                  </a:cubicBezTo>
                  <a:cubicBezTo>
                    <a:pt x="1" y="32"/>
                    <a:pt x="0" y="28"/>
                    <a:pt x="0" y="23"/>
                  </a:cubicBezTo>
                  <a:cubicBezTo>
                    <a:pt x="0" y="15"/>
                    <a:pt x="2" y="9"/>
                    <a:pt x="7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96681360-99F0-411F-872E-D08276548030}"/>
              </a:ext>
            </a:extLst>
          </p:cNvPr>
          <p:cNvGrpSpPr/>
          <p:nvPr/>
        </p:nvGrpSpPr>
        <p:grpSpPr>
          <a:xfrm>
            <a:off x="541278" y="602607"/>
            <a:ext cx="8477175" cy="4058703"/>
            <a:chOff x="500751" y="632830"/>
            <a:chExt cx="8477175" cy="4058703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673714BC-1D6D-47E8-BDBC-A4EE1D7C9B24}"/>
                </a:ext>
              </a:extLst>
            </p:cNvPr>
            <p:cNvSpPr/>
            <p:nvPr/>
          </p:nvSpPr>
          <p:spPr>
            <a:xfrm>
              <a:off x="500751" y="632830"/>
              <a:ext cx="3433074" cy="984885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200" b="1" i="0" u="none" strike="noStrike" kern="1200" cap="none" spc="0" normalizeH="0" baseline="0" noProof="0" dirty="0">
                  <a:ln>
                    <a:noFill/>
                  </a:ln>
                  <a:solidFill>
                    <a:srgbClr val="083D65"/>
                  </a:solidFill>
                  <a:effectLst/>
                  <a:uLnTx/>
                  <a:uFillTx/>
                  <a:latin typeface="Segoe UI" panose="020B0502040204020203" pitchFamily="34" charset="0"/>
                  <a:ea typeface="Open Sans" panose="020B0606030504020204" pitchFamily="34" charset="0"/>
                  <a:cs typeface="Segoe UI" panose="020B0502040204020203" pitchFamily="34" charset="0"/>
                </a:rPr>
                <a:t>LET US DO YOUR</a:t>
              </a:r>
              <a:r>
                <a:rPr kumimoji="0" lang="id-ID" sz="3200" b="1" i="0" u="none" strike="noStrike" kern="1200" cap="none" spc="0" normalizeH="0" baseline="0" noProof="0" dirty="0">
                  <a:ln>
                    <a:noFill/>
                  </a:ln>
                  <a:solidFill>
                    <a:srgbClr val="083D65"/>
                  </a:solidFill>
                  <a:effectLst/>
                  <a:uLnTx/>
                  <a:uFillTx/>
                  <a:latin typeface="Segoe UI" panose="020B0502040204020203" pitchFamily="34" charset="0"/>
                  <a:ea typeface="Open Sans" panose="020B0606030504020204" pitchFamily="34" charset="0"/>
                  <a:cs typeface="Segoe UI" panose="020B0502040204020203" pitchFamily="34" charset="0"/>
                </a:rPr>
                <a:t> </a:t>
              </a:r>
              <a:r>
                <a:rPr kumimoji="0" lang="en-US" sz="3200" b="1" i="0" u="none" strike="noStrike" kern="1200" cap="none" spc="0" normalizeH="0" baseline="0" noProof="0" dirty="0">
                  <a:ln>
                    <a:noFill/>
                  </a:ln>
                  <a:solidFill>
                    <a:srgbClr val="083D65"/>
                  </a:solidFill>
                  <a:effectLst/>
                  <a:uLnTx/>
                  <a:uFillTx/>
                  <a:latin typeface="Segoe UI" panose="020B0502040204020203" pitchFamily="34" charset="0"/>
                  <a:ea typeface="Open Sans" panose="020B0606030504020204" pitchFamily="34" charset="0"/>
                  <a:cs typeface="Segoe UI" panose="020B0502040204020203" pitchFamily="34" charset="0"/>
                </a:rPr>
                <a:t>PRESENTATION</a:t>
              </a:r>
            </a:p>
          </p:txBody>
        </p: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31FD8C54-4C3F-44EA-9673-BD480EC120A6}"/>
                </a:ext>
              </a:extLst>
            </p:cNvPr>
            <p:cNvGrpSpPr/>
            <p:nvPr/>
          </p:nvGrpSpPr>
          <p:grpSpPr>
            <a:xfrm>
              <a:off x="508143" y="1305921"/>
              <a:ext cx="8469783" cy="3385612"/>
              <a:chOff x="543826" y="1145140"/>
              <a:chExt cx="8469783" cy="3385612"/>
            </a:xfrm>
          </p:grpSpPr>
          <p:grpSp>
            <p:nvGrpSpPr>
              <p:cNvPr id="3" name="Group 2">
                <a:extLst>
                  <a:ext uri="{FF2B5EF4-FFF2-40B4-BE49-F238E27FC236}">
                    <a16:creationId xmlns:a16="http://schemas.microsoft.com/office/drawing/2014/main" id="{5F6FE9F3-136B-4F29-A889-4AAB396D1E1F}"/>
                  </a:ext>
                </a:extLst>
              </p:cNvPr>
              <p:cNvGrpSpPr/>
              <p:nvPr/>
            </p:nvGrpSpPr>
            <p:grpSpPr>
              <a:xfrm>
                <a:off x="4113015" y="1145140"/>
                <a:ext cx="4900594" cy="2627866"/>
                <a:chOff x="4113015" y="1061247"/>
                <a:chExt cx="4900594" cy="2627866"/>
              </a:xfrm>
            </p:grpSpPr>
            <p:grpSp>
              <p:nvGrpSpPr>
                <p:cNvPr id="69" name="Group 68">
                  <a:extLst>
                    <a:ext uri="{FF2B5EF4-FFF2-40B4-BE49-F238E27FC236}">
                      <a16:creationId xmlns:a16="http://schemas.microsoft.com/office/drawing/2014/main" id="{6648EF4C-43CD-4198-B785-FE90BCC4C014}"/>
                    </a:ext>
                  </a:extLst>
                </p:cNvPr>
                <p:cNvGrpSpPr/>
                <p:nvPr/>
              </p:nvGrpSpPr>
              <p:grpSpPr>
                <a:xfrm>
                  <a:off x="4124564" y="3402852"/>
                  <a:ext cx="805870" cy="286259"/>
                  <a:chOff x="2127063" y="2542759"/>
                  <a:chExt cx="454893" cy="161585"/>
                </a:xfrm>
              </p:grpSpPr>
              <p:sp>
                <p:nvSpPr>
                  <p:cNvPr id="66" name="Rectangle: Top Corners Rounded 65">
                    <a:extLst>
                      <a:ext uri="{FF2B5EF4-FFF2-40B4-BE49-F238E27FC236}">
                        <a16:creationId xmlns:a16="http://schemas.microsoft.com/office/drawing/2014/main" id="{937A599E-1C3F-49D9-8D7B-8EAE63CCB712}"/>
                      </a:ext>
                    </a:extLst>
                  </p:cNvPr>
                  <p:cNvSpPr/>
                  <p:nvPr/>
                </p:nvSpPr>
                <p:spPr>
                  <a:xfrm rot="5400000">
                    <a:off x="2273717" y="2396105"/>
                    <a:ext cx="161585" cy="454893"/>
                  </a:xfrm>
                  <a:prstGeom prst="round2SameRect">
                    <a:avLst>
                      <a:gd name="adj1" fmla="val 46104"/>
                      <a:gd name="adj2" fmla="val 0"/>
                    </a:avLst>
                  </a:prstGeom>
                  <a:solidFill>
                    <a:srgbClr val="083D65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6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7" name="TextBox 66">
                    <a:extLst>
                      <a:ext uri="{FF2B5EF4-FFF2-40B4-BE49-F238E27FC236}">
                        <a16:creationId xmlns:a16="http://schemas.microsoft.com/office/drawing/2014/main" id="{6831C2E5-3D29-449F-BA5C-32EFE486EF15}"/>
                      </a:ext>
                    </a:extLst>
                  </p:cNvPr>
                  <p:cNvSpPr txBox="1"/>
                  <p:nvPr/>
                </p:nvSpPr>
                <p:spPr>
                  <a:xfrm>
                    <a:off x="2185701" y="2543045"/>
                    <a:ext cx="354791" cy="138985"/>
                  </a:xfrm>
                  <a:prstGeom prst="rect">
                    <a:avLst/>
                  </a:prstGeom>
                  <a:noFill/>
                </p:spPr>
                <p:txBody>
                  <a:bodyPr wrap="square" lIns="0" tIns="0" rIns="0" bIns="0" rtlCol="0">
                    <a:spAutoFit/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id-ID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rPr>
                      <a:t>after</a:t>
                    </a:r>
                    <a:endParaRPr kumimoji="0" lang="en-US" sz="16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</p:grpSp>
            <p:grpSp>
              <p:nvGrpSpPr>
                <p:cNvPr id="71" name="Group 70">
                  <a:extLst>
                    <a:ext uri="{FF2B5EF4-FFF2-40B4-BE49-F238E27FC236}">
                      <a16:creationId xmlns:a16="http://schemas.microsoft.com/office/drawing/2014/main" id="{8CC0C473-AA14-4231-9540-A8C8ED2E9DBA}"/>
                    </a:ext>
                  </a:extLst>
                </p:cNvPr>
                <p:cNvGrpSpPr/>
                <p:nvPr/>
              </p:nvGrpSpPr>
              <p:grpSpPr>
                <a:xfrm>
                  <a:off x="4113015" y="1061248"/>
                  <a:ext cx="1031810" cy="286259"/>
                  <a:chOff x="4298082" y="1214613"/>
                  <a:chExt cx="454893" cy="161585"/>
                </a:xfrm>
              </p:grpSpPr>
              <p:sp>
                <p:nvSpPr>
                  <p:cNvPr id="72" name="Rectangle: Top Corners Rounded 71">
                    <a:extLst>
                      <a:ext uri="{FF2B5EF4-FFF2-40B4-BE49-F238E27FC236}">
                        <a16:creationId xmlns:a16="http://schemas.microsoft.com/office/drawing/2014/main" id="{F9F599E6-86AE-4B41-BC36-8002888C50B5}"/>
                      </a:ext>
                    </a:extLst>
                  </p:cNvPr>
                  <p:cNvSpPr/>
                  <p:nvPr/>
                </p:nvSpPr>
                <p:spPr>
                  <a:xfrm rot="5400000">
                    <a:off x="4444736" y="1067959"/>
                    <a:ext cx="161585" cy="454893"/>
                  </a:xfrm>
                  <a:prstGeom prst="round2SameRect">
                    <a:avLst>
                      <a:gd name="adj1" fmla="val 50000"/>
                      <a:gd name="adj2" fmla="val 0"/>
                    </a:avLst>
                  </a:prstGeom>
                  <a:solidFill>
                    <a:schemeClr val="bg1">
                      <a:lumMod val="65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6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73" name="TextBox 72">
                    <a:extLst>
                      <a:ext uri="{FF2B5EF4-FFF2-40B4-BE49-F238E27FC236}">
                        <a16:creationId xmlns:a16="http://schemas.microsoft.com/office/drawing/2014/main" id="{E1332D08-1F40-4CC7-8BCA-68D3DC5E6DB8}"/>
                      </a:ext>
                    </a:extLst>
                  </p:cNvPr>
                  <p:cNvSpPr txBox="1"/>
                  <p:nvPr/>
                </p:nvSpPr>
                <p:spPr>
                  <a:xfrm>
                    <a:off x="4348971" y="1214614"/>
                    <a:ext cx="354791" cy="138985"/>
                  </a:xfrm>
                  <a:prstGeom prst="rect">
                    <a:avLst/>
                  </a:prstGeom>
                  <a:noFill/>
                </p:spPr>
                <p:txBody>
                  <a:bodyPr wrap="square" lIns="0" tIns="0" rIns="0" bIns="0" rtlCol="0">
                    <a:spAutoFit/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id-ID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rPr>
                      <a:t>before</a:t>
                    </a:r>
                  </a:p>
                </p:txBody>
              </p:sp>
            </p:grpSp>
            <p:grpSp>
              <p:nvGrpSpPr>
                <p:cNvPr id="74" name="Group 73">
                  <a:extLst>
                    <a:ext uri="{FF2B5EF4-FFF2-40B4-BE49-F238E27FC236}">
                      <a16:creationId xmlns:a16="http://schemas.microsoft.com/office/drawing/2014/main" id="{AFCE1AAA-A2FB-4541-9212-AB9ECB76A884}"/>
                    </a:ext>
                  </a:extLst>
                </p:cNvPr>
                <p:cNvGrpSpPr/>
                <p:nvPr/>
              </p:nvGrpSpPr>
              <p:grpSpPr>
                <a:xfrm>
                  <a:off x="7959816" y="3402854"/>
                  <a:ext cx="805870" cy="286259"/>
                  <a:chOff x="4291964" y="1194029"/>
                  <a:chExt cx="454893" cy="161585"/>
                </a:xfrm>
              </p:grpSpPr>
              <p:sp>
                <p:nvSpPr>
                  <p:cNvPr id="75" name="Rectangle: Top Corners Rounded 74">
                    <a:extLst>
                      <a:ext uri="{FF2B5EF4-FFF2-40B4-BE49-F238E27FC236}">
                        <a16:creationId xmlns:a16="http://schemas.microsoft.com/office/drawing/2014/main" id="{D996E70A-86BD-46A8-899B-A55834A42F2F}"/>
                      </a:ext>
                    </a:extLst>
                  </p:cNvPr>
                  <p:cNvSpPr/>
                  <p:nvPr/>
                </p:nvSpPr>
                <p:spPr>
                  <a:xfrm rot="5400000">
                    <a:off x="4438618" y="1047375"/>
                    <a:ext cx="161585" cy="454893"/>
                  </a:xfrm>
                  <a:prstGeom prst="round2SameRect">
                    <a:avLst>
                      <a:gd name="adj1" fmla="val 50000"/>
                      <a:gd name="adj2" fmla="val 0"/>
                    </a:avLst>
                  </a:prstGeom>
                  <a:solidFill>
                    <a:srgbClr val="083D65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6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76" name="TextBox 75">
                    <a:extLst>
                      <a:ext uri="{FF2B5EF4-FFF2-40B4-BE49-F238E27FC236}">
                        <a16:creationId xmlns:a16="http://schemas.microsoft.com/office/drawing/2014/main" id="{9879E702-100F-49F1-9D79-29CAA7D06576}"/>
                      </a:ext>
                    </a:extLst>
                  </p:cNvPr>
                  <p:cNvSpPr txBox="1"/>
                  <p:nvPr/>
                </p:nvSpPr>
                <p:spPr>
                  <a:xfrm>
                    <a:off x="4345574" y="1200327"/>
                    <a:ext cx="354791" cy="138985"/>
                  </a:xfrm>
                  <a:prstGeom prst="rect">
                    <a:avLst/>
                  </a:prstGeom>
                  <a:noFill/>
                </p:spPr>
                <p:txBody>
                  <a:bodyPr wrap="square" lIns="0" tIns="0" rIns="0" bIns="0" rtlCol="0">
                    <a:spAutoFit/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id-ID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rPr>
                      <a:t>after</a:t>
                    </a:r>
                    <a:endParaRPr kumimoji="0" lang="en-US" sz="16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</p:grpSp>
            <p:grpSp>
              <p:nvGrpSpPr>
                <p:cNvPr id="77" name="Group 76">
                  <a:extLst>
                    <a:ext uri="{FF2B5EF4-FFF2-40B4-BE49-F238E27FC236}">
                      <a16:creationId xmlns:a16="http://schemas.microsoft.com/office/drawing/2014/main" id="{9BDD2E8E-80FE-4EF1-A6EA-68EEB6E069F7}"/>
                    </a:ext>
                  </a:extLst>
                </p:cNvPr>
                <p:cNvGrpSpPr/>
                <p:nvPr/>
              </p:nvGrpSpPr>
              <p:grpSpPr>
                <a:xfrm>
                  <a:off x="7981799" y="1061247"/>
                  <a:ext cx="1031810" cy="286259"/>
                  <a:chOff x="6003709" y="-127741"/>
                  <a:chExt cx="454893" cy="161585"/>
                </a:xfrm>
              </p:grpSpPr>
              <p:sp>
                <p:nvSpPr>
                  <p:cNvPr id="78" name="Rectangle: Top Corners Rounded 77">
                    <a:extLst>
                      <a:ext uri="{FF2B5EF4-FFF2-40B4-BE49-F238E27FC236}">
                        <a16:creationId xmlns:a16="http://schemas.microsoft.com/office/drawing/2014/main" id="{9D683C2B-0854-4DB1-BB80-EFBFAF984346}"/>
                      </a:ext>
                    </a:extLst>
                  </p:cNvPr>
                  <p:cNvSpPr/>
                  <p:nvPr/>
                </p:nvSpPr>
                <p:spPr>
                  <a:xfrm rot="5400000">
                    <a:off x="6150363" y="-274395"/>
                    <a:ext cx="161585" cy="454893"/>
                  </a:xfrm>
                  <a:prstGeom prst="round2SameRect">
                    <a:avLst>
                      <a:gd name="adj1" fmla="val 50000"/>
                      <a:gd name="adj2" fmla="val 0"/>
                    </a:avLst>
                  </a:prstGeom>
                  <a:solidFill>
                    <a:schemeClr val="bg1">
                      <a:lumMod val="65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6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79" name="TextBox 78">
                    <a:extLst>
                      <a:ext uri="{FF2B5EF4-FFF2-40B4-BE49-F238E27FC236}">
                        <a16:creationId xmlns:a16="http://schemas.microsoft.com/office/drawing/2014/main" id="{7CDEE80E-DD26-44BB-AFC3-1DB8F5430D75}"/>
                      </a:ext>
                    </a:extLst>
                  </p:cNvPr>
                  <p:cNvSpPr txBox="1"/>
                  <p:nvPr/>
                </p:nvSpPr>
                <p:spPr>
                  <a:xfrm>
                    <a:off x="6054598" y="-123378"/>
                    <a:ext cx="354791" cy="138985"/>
                  </a:xfrm>
                  <a:prstGeom prst="rect">
                    <a:avLst/>
                  </a:prstGeom>
                  <a:noFill/>
                </p:spPr>
                <p:txBody>
                  <a:bodyPr wrap="square" lIns="0" tIns="0" rIns="0" bIns="0" rtlCol="0">
                    <a:spAutoFit/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id-ID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rPr>
                      <a:t>before</a:t>
                    </a:r>
                    <a:endParaRPr kumimoji="0" lang="en-US" sz="16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</p:grpSp>
          </p:grpSp>
          <p:grpSp>
            <p:nvGrpSpPr>
              <p:cNvPr id="5" name="Group 4">
                <a:extLst>
                  <a:ext uri="{FF2B5EF4-FFF2-40B4-BE49-F238E27FC236}">
                    <a16:creationId xmlns:a16="http://schemas.microsoft.com/office/drawing/2014/main" id="{4F978E2A-B2C5-420B-945F-A53B8B5E9206}"/>
                  </a:ext>
                </a:extLst>
              </p:cNvPr>
              <p:cNvGrpSpPr/>
              <p:nvPr/>
            </p:nvGrpSpPr>
            <p:grpSpPr>
              <a:xfrm>
                <a:off x="543826" y="1742165"/>
                <a:ext cx="1818153" cy="576263"/>
                <a:chOff x="617538" y="1927225"/>
                <a:chExt cx="1818153" cy="576263"/>
              </a:xfrm>
            </p:grpSpPr>
            <p:grpSp>
              <p:nvGrpSpPr>
                <p:cNvPr id="6" name="Group 5">
                  <a:extLst>
                    <a:ext uri="{FF2B5EF4-FFF2-40B4-BE49-F238E27FC236}">
                      <a16:creationId xmlns:a16="http://schemas.microsoft.com/office/drawing/2014/main" id="{1DCE930A-08F2-4BA3-86B8-09331FBF8E51}"/>
                    </a:ext>
                  </a:extLst>
                </p:cNvPr>
                <p:cNvGrpSpPr/>
                <p:nvPr/>
              </p:nvGrpSpPr>
              <p:grpSpPr>
                <a:xfrm>
                  <a:off x="1385353" y="1985477"/>
                  <a:ext cx="1050338" cy="459757"/>
                  <a:chOff x="1302338" y="1896979"/>
                  <a:chExt cx="1050338" cy="459757"/>
                </a:xfrm>
              </p:grpSpPr>
              <p:sp>
                <p:nvSpPr>
                  <p:cNvPr id="16" name="Rectangle 15">
                    <a:extLst>
                      <a:ext uri="{FF2B5EF4-FFF2-40B4-BE49-F238E27FC236}">
                        <a16:creationId xmlns:a16="http://schemas.microsoft.com/office/drawing/2014/main" id="{5BC30E7C-5C96-4416-A4EC-46663B83EDE4}"/>
                      </a:ext>
                    </a:extLst>
                  </p:cNvPr>
                  <p:cNvSpPr/>
                  <p:nvPr/>
                </p:nvSpPr>
                <p:spPr>
                  <a:xfrm>
                    <a:off x="1302338" y="1896979"/>
                    <a:ext cx="1050338" cy="276999"/>
                  </a:xfrm>
                  <a:prstGeom prst="rect">
                    <a:avLst/>
                  </a:prstGeom>
                </p:spPr>
                <p:txBody>
                  <a:bodyPr wrap="square" lIns="0" tIns="0" rIns="0" bIns="0">
                    <a:spAutoFit/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1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83D65"/>
                        </a:solidFill>
                        <a:effectLst/>
                        <a:uLnTx/>
                        <a:uFillTx/>
                        <a:latin typeface="Segoe UI" panose="020B0502040204020203" pitchFamily="34" charset="0"/>
                        <a:ea typeface="Open Sans" panose="020B0606030504020204" pitchFamily="34" charset="0"/>
                        <a:cs typeface="Segoe UI" panose="020B0502040204020203" pitchFamily="34" charset="0"/>
                      </a:rPr>
                      <a:t>24 HOUR</a:t>
                    </a:r>
                  </a:p>
                </p:txBody>
              </p:sp>
              <p:sp>
                <p:nvSpPr>
                  <p:cNvPr id="17" name="Rectangle 16">
                    <a:extLst>
                      <a:ext uri="{FF2B5EF4-FFF2-40B4-BE49-F238E27FC236}">
                        <a16:creationId xmlns:a16="http://schemas.microsoft.com/office/drawing/2014/main" id="{FFB2F49C-CAAC-49C0-9DAB-BA185649FBDC}"/>
                      </a:ext>
                    </a:extLst>
                  </p:cNvPr>
                  <p:cNvSpPr/>
                  <p:nvPr/>
                </p:nvSpPr>
                <p:spPr>
                  <a:xfrm>
                    <a:off x="1302338" y="2187459"/>
                    <a:ext cx="1050338" cy="169277"/>
                  </a:xfrm>
                  <a:prstGeom prst="rect">
                    <a:avLst/>
                  </a:prstGeom>
                </p:spPr>
                <p:txBody>
                  <a:bodyPr wrap="square" lIns="0" tIns="0" rIns="0" bIns="0">
                    <a:spAutoFit/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11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83D65"/>
                        </a:solidFill>
                        <a:effectLst/>
                        <a:uLnTx/>
                        <a:uFillTx/>
                        <a:latin typeface="Segoe UI" panose="020B0502040204020203" pitchFamily="34" charset="0"/>
                        <a:ea typeface="Open Sans" panose="020B0606030504020204" pitchFamily="34" charset="0"/>
                        <a:cs typeface="Segoe UI" panose="020B0502040204020203" pitchFamily="34" charset="0"/>
                      </a:rPr>
                      <a:t>TURN AROUND</a:t>
                    </a:r>
                  </a:p>
                </p:txBody>
              </p:sp>
            </p:grpSp>
            <p:grpSp>
              <p:nvGrpSpPr>
                <p:cNvPr id="7" name="Group 6">
                  <a:extLst>
                    <a:ext uri="{FF2B5EF4-FFF2-40B4-BE49-F238E27FC236}">
                      <a16:creationId xmlns:a16="http://schemas.microsoft.com/office/drawing/2014/main" id="{673B93D2-B665-4D4B-BEDB-506562677629}"/>
                    </a:ext>
                  </a:extLst>
                </p:cNvPr>
                <p:cNvGrpSpPr/>
                <p:nvPr/>
              </p:nvGrpSpPr>
              <p:grpSpPr>
                <a:xfrm>
                  <a:off x="617538" y="1927225"/>
                  <a:ext cx="577851" cy="576263"/>
                  <a:chOff x="617538" y="1927225"/>
                  <a:chExt cx="577851" cy="576263"/>
                </a:xfrm>
              </p:grpSpPr>
              <p:sp>
                <p:nvSpPr>
                  <p:cNvPr id="8" name="Oval 20">
                    <a:extLst>
                      <a:ext uri="{FF2B5EF4-FFF2-40B4-BE49-F238E27FC236}">
                        <a16:creationId xmlns:a16="http://schemas.microsoft.com/office/drawing/2014/main" id="{0A4D9DDB-2A97-4029-B998-D7B68279E0B5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617538" y="1927225"/>
                    <a:ext cx="577850" cy="576263"/>
                  </a:xfrm>
                  <a:prstGeom prst="ellipse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9" name="Freeform 21">
                    <a:extLst>
                      <a:ext uri="{FF2B5EF4-FFF2-40B4-BE49-F238E27FC236}">
                        <a16:creationId xmlns:a16="http://schemas.microsoft.com/office/drawing/2014/main" id="{E819C346-A84C-409C-8019-90061AFEE009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720726" y="1943100"/>
                    <a:ext cx="474663" cy="560388"/>
                  </a:xfrm>
                  <a:custGeom>
                    <a:avLst/>
                    <a:gdLst>
                      <a:gd name="T0" fmla="*/ 469 w 469"/>
                      <a:gd name="T1" fmla="*/ 270 h 555"/>
                      <a:gd name="T2" fmla="*/ 183 w 469"/>
                      <a:gd name="T3" fmla="*/ 555 h 555"/>
                      <a:gd name="T4" fmla="*/ 0 w 469"/>
                      <a:gd name="T5" fmla="*/ 489 h 555"/>
                      <a:gd name="T6" fmla="*/ 93 w 469"/>
                      <a:gd name="T7" fmla="*/ 505 h 555"/>
                      <a:gd name="T8" fmla="*/ 378 w 469"/>
                      <a:gd name="T9" fmla="*/ 219 h 555"/>
                      <a:gd name="T10" fmla="*/ 276 w 469"/>
                      <a:gd name="T11" fmla="*/ 0 h 555"/>
                      <a:gd name="T12" fmla="*/ 469 w 469"/>
                      <a:gd name="T13" fmla="*/ 270 h 55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469" h="555">
                        <a:moveTo>
                          <a:pt x="469" y="270"/>
                        </a:moveTo>
                        <a:cubicBezTo>
                          <a:pt x="469" y="428"/>
                          <a:pt x="341" y="555"/>
                          <a:pt x="183" y="555"/>
                        </a:cubicBezTo>
                        <a:cubicBezTo>
                          <a:pt x="114" y="555"/>
                          <a:pt x="50" y="531"/>
                          <a:pt x="0" y="489"/>
                        </a:cubicBezTo>
                        <a:cubicBezTo>
                          <a:pt x="29" y="499"/>
                          <a:pt x="61" y="505"/>
                          <a:pt x="93" y="505"/>
                        </a:cubicBezTo>
                        <a:cubicBezTo>
                          <a:pt x="251" y="505"/>
                          <a:pt x="378" y="377"/>
                          <a:pt x="378" y="219"/>
                        </a:cubicBezTo>
                        <a:cubicBezTo>
                          <a:pt x="378" y="131"/>
                          <a:pt x="339" y="53"/>
                          <a:pt x="276" y="0"/>
                        </a:cubicBezTo>
                        <a:cubicBezTo>
                          <a:pt x="388" y="39"/>
                          <a:pt x="469" y="145"/>
                          <a:pt x="469" y="270"/>
                        </a:cubicBezTo>
                        <a:close/>
                      </a:path>
                    </a:pathLst>
                  </a:custGeom>
                  <a:solidFill>
                    <a:srgbClr val="D1E3ED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0" name="Oval 22">
                    <a:extLst>
                      <a:ext uri="{FF2B5EF4-FFF2-40B4-BE49-F238E27FC236}">
                        <a16:creationId xmlns:a16="http://schemas.microsoft.com/office/drawing/2014/main" id="{191C88F5-CC9B-4459-9A9D-DAA16113D6D5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617538" y="1927225"/>
                    <a:ext cx="577850" cy="576263"/>
                  </a:xfrm>
                  <a:prstGeom prst="ellipse">
                    <a:avLst/>
                  </a:prstGeom>
                  <a:noFill/>
                  <a:ln w="25400" cap="rnd">
                    <a:solidFill>
                      <a:srgbClr val="7AC2F9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1" name="Freeform 23">
                    <a:extLst>
                      <a:ext uri="{FF2B5EF4-FFF2-40B4-BE49-F238E27FC236}">
                        <a16:creationId xmlns:a16="http://schemas.microsoft.com/office/drawing/2014/main" id="{0F8EAC3E-FE6B-4AC8-B472-C5E43CE9FEFF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773113" y="2081213"/>
                    <a:ext cx="261938" cy="268288"/>
                  </a:xfrm>
                  <a:custGeom>
                    <a:avLst/>
                    <a:gdLst>
                      <a:gd name="T0" fmla="*/ 260 w 260"/>
                      <a:gd name="T1" fmla="*/ 168 h 266"/>
                      <a:gd name="T2" fmla="*/ 132 w 260"/>
                      <a:gd name="T3" fmla="*/ 266 h 266"/>
                      <a:gd name="T4" fmla="*/ 0 w 260"/>
                      <a:gd name="T5" fmla="*/ 133 h 266"/>
                      <a:gd name="T6" fmla="*/ 132 w 260"/>
                      <a:gd name="T7" fmla="*/ 0 h 266"/>
                      <a:gd name="T8" fmla="*/ 206 w 260"/>
                      <a:gd name="T9" fmla="*/ 23 h 26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260" h="266">
                        <a:moveTo>
                          <a:pt x="260" y="168"/>
                        </a:moveTo>
                        <a:cubicBezTo>
                          <a:pt x="245" y="224"/>
                          <a:pt x="193" y="266"/>
                          <a:pt x="132" y="266"/>
                        </a:cubicBezTo>
                        <a:cubicBezTo>
                          <a:pt x="59" y="266"/>
                          <a:pt x="0" y="206"/>
                          <a:pt x="0" y="133"/>
                        </a:cubicBezTo>
                        <a:cubicBezTo>
                          <a:pt x="0" y="60"/>
                          <a:pt x="59" y="0"/>
                          <a:pt x="132" y="0"/>
                        </a:cubicBezTo>
                        <a:cubicBezTo>
                          <a:pt x="160" y="0"/>
                          <a:pt x="185" y="9"/>
                          <a:pt x="206" y="23"/>
                        </a:cubicBezTo>
                      </a:path>
                    </a:pathLst>
                  </a:custGeom>
                  <a:noFill/>
                  <a:ln w="25400" cap="rnd">
                    <a:solidFill>
                      <a:srgbClr val="7AC2F9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2" name="Line 24">
                    <a:extLst>
                      <a:ext uri="{FF2B5EF4-FFF2-40B4-BE49-F238E27FC236}">
                        <a16:creationId xmlns:a16="http://schemas.microsoft.com/office/drawing/2014/main" id="{CDB9360A-BA30-48B9-B671-2A36CE4D3A22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 flipV="1">
                    <a:off x="906463" y="2124075"/>
                    <a:ext cx="139700" cy="92075"/>
                  </a:xfrm>
                  <a:prstGeom prst="line">
                    <a:avLst/>
                  </a:prstGeom>
                  <a:noFill/>
                  <a:ln w="25400" cap="rnd">
                    <a:solidFill>
                      <a:srgbClr val="7AC2F9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3" name="Line 25">
                    <a:extLst>
                      <a:ext uri="{FF2B5EF4-FFF2-40B4-BE49-F238E27FC236}">
                        <a16:creationId xmlns:a16="http://schemas.microsoft.com/office/drawing/2014/main" id="{416E22B5-F4DA-4B32-AF90-F591A9A60A83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906463" y="2216150"/>
                    <a:ext cx="166688" cy="0"/>
                  </a:xfrm>
                  <a:prstGeom prst="line">
                    <a:avLst/>
                  </a:prstGeom>
                  <a:noFill/>
                  <a:ln w="25400" cap="rnd">
                    <a:solidFill>
                      <a:srgbClr val="7AC2F9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4" name="Line 26">
                    <a:extLst>
                      <a:ext uri="{FF2B5EF4-FFF2-40B4-BE49-F238E27FC236}">
                        <a16:creationId xmlns:a16="http://schemas.microsoft.com/office/drawing/2014/main" id="{D2C41497-3ADA-4AA9-8324-900E2841F178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 flipV="1">
                    <a:off x="925513" y="2105025"/>
                    <a:ext cx="55563" cy="19050"/>
                  </a:xfrm>
                  <a:prstGeom prst="line">
                    <a:avLst/>
                  </a:prstGeom>
                  <a:noFill/>
                  <a:ln w="25400" cap="rnd">
                    <a:solidFill>
                      <a:srgbClr val="7AC2F9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5" name="Line 27">
                    <a:extLst>
                      <a:ext uri="{FF2B5EF4-FFF2-40B4-BE49-F238E27FC236}">
                        <a16:creationId xmlns:a16="http://schemas.microsoft.com/office/drawing/2014/main" id="{A93E1BB8-C8C5-4EF8-B846-6D5E1A1BC35F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 flipH="1" flipV="1">
                    <a:off x="962026" y="2049463"/>
                    <a:ext cx="19050" cy="55563"/>
                  </a:xfrm>
                  <a:prstGeom prst="line">
                    <a:avLst/>
                  </a:prstGeom>
                  <a:noFill/>
                  <a:ln w="25400" cap="rnd">
                    <a:solidFill>
                      <a:srgbClr val="7AC2F9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</p:grpSp>
          </p:grpSp>
          <p:grpSp>
            <p:nvGrpSpPr>
              <p:cNvPr id="18" name="Group 17">
                <a:extLst>
                  <a:ext uri="{FF2B5EF4-FFF2-40B4-BE49-F238E27FC236}">
                    <a16:creationId xmlns:a16="http://schemas.microsoft.com/office/drawing/2014/main" id="{C89C1108-D823-4A25-B6E8-ADDAAB804C68}"/>
                  </a:ext>
                </a:extLst>
              </p:cNvPr>
              <p:cNvGrpSpPr/>
              <p:nvPr/>
            </p:nvGrpSpPr>
            <p:grpSpPr>
              <a:xfrm>
                <a:off x="543826" y="2482080"/>
                <a:ext cx="1822302" cy="605234"/>
                <a:chOff x="613389" y="2657566"/>
                <a:chExt cx="1822302" cy="605234"/>
              </a:xfrm>
            </p:grpSpPr>
            <p:grpSp>
              <p:nvGrpSpPr>
                <p:cNvPr id="19" name="Group 18">
                  <a:extLst>
                    <a:ext uri="{FF2B5EF4-FFF2-40B4-BE49-F238E27FC236}">
                      <a16:creationId xmlns:a16="http://schemas.microsoft.com/office/drawing/2014/main" id="{57233790-1B6D-4875-B97A-E9994CC2D151}"/>
                    </a:ext>
                  </a:extLst>
                </p:cNvPr>
                <p:cNvGrpSpPr/>
                <p:nvPr/>
              </p:nvGrpSpPr>
              <p:grpSpPr>
                <a:xfrm>
                  <a:off x="1385353" y="2730304"/>
                  <a:ext cx="1050338" cy="459757"/>
                  <a:chOff x="1302338" y="1896979"/>
                  <a:chExt cx="1050338" cy="459757"/>
                </a:xfrm>
              </p:grpSpPr>
              <p:sp>
                <p:nvSpPr>
                  <p:cNvPr id="21" name="Rectangle 20">
                    <a:extLst>
                      <a:ext uri="{FF2B5EF4-FFF2-40B4-BE49-F238E27FC236}">
                        <a16:creationId xmlns:a16="http://schemas.microsoft.com/office/drawing/2014/main" id="{24A8F3DC-D1FA-49B5-AE50-458D87DB47F2}"/>
                      </a:ext>
                    </a:extLst>
                  </p:cNvPr>
                  <p:cNvSpPr/>
                  <p:nvPr/>
                </p:nvSpPr>
                <p:spPr>
                  <a:xfrm>
                    <a:off x="1302338" y="1896979"/>
                    <a:ext cx="1050338" cy="276999"/>
                  </a:xfrm>
                  <a:prstGeom prst="rect">
                    <a:avLst/>
                  </a:prstGeom>
                </p:spPr>
                <p:txBody>
                  <a:bodyPr wrap="square" lIns="0" tIns="0" rIns="0" bIns="0">
                    <a:spAutoFit/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1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83D65"/>
                        </a:solidFill>
                        <a:effectLst/>
                        <a:uLnTx/>
                        <a:uFillTx/>
                        <a:latin typeface="Segoe UI" panose="020B0502040204020203" pitchFamily="34" charset="0"/>
                        <a:ea typeface="Open Sans" panose="020B0606030504020204" pitchFamily="34" charset="0"/>
                        <a:cs typeface="Segoe UI" panose="020B0502040204020203" pitchFamily="34" charset="0"/>
                      </a:rPr>
                      <a:t>From $11</a:t>
                    </a:r>
                  </a:p>
                </p:txBody>
              </p:sp>
              <p:sp>
                <p:nvSpPr>
                  <p:cNvPr id="22" name="Rectangle 21">
                    <a:extLst>
                      <a:ext uri="{FF2B5EF4-FFF2-40B4-BE49-F238E27FC236}">
                        <a16:creationId xmlns:a16="http://schemas.microsoft.com/office/drawing/2014/main" id="{750E0D5B-32E7-45B7-8417-3D2C7694985A}"/>
                      </a:ext>
                    </a:extLst>
                  </p:cNvPr>
                  <p:cNvSpPr/>
                  <p:nvPr/>
                </p:nvSpPr>
                <p:spPr>
                  <a:xfrm>
                    <a:off x="1302338" y="2187459"/>
                    <a:ext cx="1050338" cy="169277"/>
                  </a:xfrm>
                  <a:prstGeom prst="rect">
                    <a:avLst/>
                  </a:prstGeom>
                </p:spPr>
                <p:txBody>
                  <a:bodyPr wrap="square" lIns="0" tIns="0" rIns="0" bIns="0">
                    <a:spAutoFit/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11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83D65"/>
                        </a:solidFill>
                        <a:effectLst/>
                        <a:uLnTx/>
                        <a:uFillTx/>
                        <a:latin typeface="Segoe UI" panose="020B0502040204020203" pitchFamily="34" charset="0"/>
                        <a:ea typeface="Open Sans" panose="020B0606030504020204" pitchFamily="34" charset="0"/>
                        <a:cs typeface="Segoe UI" panose="020B0502040204020203" pitchFamily="34" charset="0"/>
                      </a:rPr>
                      <a:t>PER SLIDE</a:t>
                    </a:r>
                  </a:p>
                </p:txBody>
              </p:sp>
            </p:grpSp>
            <p:pic>
              <p:nvPicPr>
                <p:cNvPr id="20" name="Picture 19">
                  <a:extLst>
                    <a:ext uri="{FF2B5EF4-FFF2-40B4-BE49-F238E27FC236}">
                      <a16:creationId xmlns:a16="http://schemas.microsoft.com/office/drawing/2014/main" id="{8C8DE8F7-2FCB-4D09-91D1-83DA72367DA5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/>
                <a:stretch>
                  <a:fillRect/>
                </a:stretch>
              </p:blipFill>
              <p:spPr>
                <a:xfrm>
                  <a:off x="613389" y="2657566"/>
                  <a:ext cx="605940" cy="605234"/>
                </a:xfrm>
                <a:prstGeom prst="rect">
                  <a:avLst/>
                </a:prstGeom>
              </p:spPr>
            </p:pic>
          </p:grpSp>
          <p:sp>
            <p:nvSpPr>
              <p:cNvPr id="24" name="Rectangle 23">
                <a:extLst>
                  <a:ext uri="{FF2B5EF4-FFF2-40B4-BE49-F238E27FC236}">
                    <a16:creationId xmlns:a16="http://schemas.microsoft.com/office/drawing/2014/main" id="{0274503B-5122-4623-AB9F-1245C2B01E9D}"/>
                  </a:ext>
                </a:extLst>
              </p:cNvPr>
              <p:cNvSpPr/>
              <p:nvPr/>
            </p:nvSpPr>
            <p:spPr>
              <a:xfrm>
                <a:off x="543826" y="3195474"/>
                <a:ext cx="3425682" cy="646331"/>
              </a:xfrm>
              <a:prstGeom prst="rect">
                <a:avLst/>
              </a:prstGeom>
            </p:spPr>
            <p:txBody>
              <a:bodyPr wrap="square" lIns="0" tIns="0" rIns="0" bIns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42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E7E6E6">
                        <a:lumMod val="90000"/>
                      </a:srgbClr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Open Sans" panose="020B0606030504020204" pitchFamily="34" charset="0"/>
                    <a:cs typeface="Segoe UI" panose="020B0502040204020203" pitchFamily="34" charset="0"/>
                  </a:rPr>
                  <a:t>GET STARTED</a:t>
                </a:r>
              </a:p>
            </p:txBody>
          </p:sp>
          <p:sp>
            <p:nvSpPr>
              <p:cNvPr id="2" name="Rectangle 1">
                <a:extLst>
                  <a:ext uri="{FF2B5EF4-FFF2-40B4-BE49-F238E27FC236}">
                    <a16:creationId xmlns:a16="http://schemas.microsoft.com/office/drawing/2014/main" id="{096F7EA7-DFFB-40E4-87D8-1C8AF2E5E4B4}"/>
                  </a:ext>
                </a:extLst>
              </p:cNvPr>
              <p:cNvSpPr/>
              <p:nvPr/>
            </p:nvSpPr>
            <p:spPr>
              <a:xfrm>
                <a:off x="543826" y="3976754"/>
                <a:ext cx="3081340" cy="553998"/>
              </a:xfrm>
              <a:prstGeom prst="rect">
                <a:avLst/>
              </a:prstGeom>
            </p:spPr>
            <p:txBody>
              <a:bodyPr wrap="square" lIns="0" tIns="0" rIns="0" bIns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83D65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Open Sans Light"/>
                    <a:cs typeface="Segoe UI" panose="020B0502040204020203" pitchFamily="34" charset="0"/>
                    <a:sym typeface="Open Sans Light"/>
                  </a:rPr>
                  <a:t>Go to </a:t>
                </a:r>
                <a:r>
                  <a:rPr kumimoji="0" lang="en-US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83D65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Open Sans Light"/>
                    <a:cs typeface="Segoe UI" panose="020B0502040204020203" pitchFamily="34" charset="0"/>
                    <a:sym typeface="Open Sans Light"/>
                  </a:rPr>
                  <a:t>24Slides.com/</a:t>
                </a:r>
                <a:r>
                  <a:rPr kumimoji="0" lang="id-ID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83D65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Open Sans Light"/>
                    <a:cs typeface="Segoe UI" panose="020B0502040204020203" pitchFamily="34" charset="0"/>
                    <a:sym typeface="Open Sans Light"/>
                  </a:rPr>
                  <a:t>order </a:t>
                </a:r>
                <a:br>
                  <a:rPr kumimoji="0" lang="id-ID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83D65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Open Sans Light"/>
                    <a:cs typeface="Segoe UI" panose="020B0502040204020203" pitchFamily="34" charset="0"/>
                    <a:sym typeface="Open Sans Light"/>
                  </a:rPr>
                </a:b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83D65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Open Sans Light"/>
                    <a:cs typeface="Segoe UI" panose="020B0502040204020203" pitchFamily="34" charset="0"/>
                    <a:sym typeface="Open Sans Light"/>
                  </a:rPr>
                  <a:t>to find out more</a:t>
                </a: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83D65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67321278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" name="Rectangle 121">
            <a:extLst>
              <a:ext uri="{FF2B5EF4-FFF2-40B4-BE49-F238E27FC236}">
                <a16:creationId xmlns:a16="http://schemas.microsoft.com/office/drawing/2014/main" id="{26519E81-C48F-4DC1-8447-5AA3137BE5EE}"/>
              </a:ext>
            </a:extLst>
          </p:cNvPr>
          <p:cNvSpPr/>
          <p:nvPr/>
        </p:nvSpPr>
        <p:spPr>
          <a:xfrm>
            <a:off x="6553200" y="0"/>
            <a:ext cx="5638800" cy="6850560"/>
          </a:xfrm>
          <a:prstGeom prst="rect">
            <a:avLst/>
          </a:prstGeom>
          <a:solidFill>
            <a:srgbClr val="DCECF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F4A23E82-4ADA-4290-A732-46C59CED37BE}"/>
              </a:ext>
            </a:extLst>
          </p:cNvPr>
          <p:cNvSpPr/>
          <p:nvPr/>
        </p:nvSpPr>
        <p:spPr>
          <a:xfrm>
            <a:off x="7064944" y="848715"/>
            <a:ext cx="4513667" cy="258532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With a full team of designers, we produce hundreds of thousands of slides each year, in dozens of languages, for thousands of clients around the world.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814E8360-63F3-4F18-817E-6FBC4551EF0D}"/>
              </a:ext>
            </a:extLst>
          </p:cNvPr>
          <p:cNvSpPr/>
          <p:nvPr/>
        </p:nvSpPr>
        <p:spPr>
          <a:xfrm>
            <a:off x="7064944" y="3685471"/>
            <a:ext cx="3307591" cy="147732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00" b="1" i="0" u="none" strike="noStrike" kern="1200" cap="none" spc="0" normalizeH="0" baseline="0" noProof="0" dirty="0">
                <a:ln>
                  <a:noFill/>
                </a:ln>
                <a:solidFill>
                  <a:srgbClr val="468DC3"/>
                </a:solidFill>
                <a:effectLst/>
                <a:uLnTx/>
                <a:uFillTx/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Get Started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5298F209-5475-4EE8-82B8-E06B477AE492}"/>
              </a:ext>
            </a:extLst>
          </p:cNvPr>
          <p:cNvGrpSpPr/>
          <p:nvPr/>
        </p:nvGrpSpPr>
        <p:grpSpPr>
          <a:xfrm>
            <a:off x="495298" y="500591"/>
            <a:ext cx="5543552" cy="5949434"/>
            <a:chOff x="371248" y="367458"/>
            <a:chExt cx="5791652" cy="6215699"/>
          </a:xfrm>
        </p:grpSpPr>
        <p:grpSp>
          <p:nvGrpSpPr>
            <p:cNvPr id="4" name="Group 3">
              <a:extLst>
                <a:ext uri="{FF2B5EF4-FFF2-40B4-BE49-F238E27FC236}">
                  <a16:creationId xmlns:a16="http://schemas.microsoft.com/office/drawing/2014/main" id="{CD845A77-C33E-4B0F-92C8-5FF58F25D5BB}"/>
                </a:ext>
              </a:extLst>
            </p:cNvPr>
            <p:cNvGrpSpPr/>
            <p:nvPr/>
          </p:nvGrpSpPr>
          <p:grpSpPr>
            <a:xfrm>
              <a:off x="383468" y="2256268"/>
              <a:ext cx="5779430" cy="1621673"/>
              <a:chOff x="392993" y="2284440"/>
              <a:chExt cx="5779430" cy="1621673"/>
            </a:xfrm>
          </p:grpSpPr>
          <p:pic>
            <p:nvPicPr>
              <p:cNvPr id="40" name="Picture 39">
                <a:extLst>
                  <a:ext uri="{FF2B5EF4-FFF2-40B4-BE49-F238E27FC236}">
                    <a16:creationId xmlns:a16="http://schemas.microsoft.com/office/drawing/2014/main" id="{E5A8486D-6564-4EC8-AC45-70E000CC5923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3435" t="7099" r="67646" b="5151"/>
              <a:stretch/>
            </p:blipFill>
            <p:spPr>
              <a:xfrm>
                <a:off x="392993" y="2284440"/>
                <a:ext cx="1425080" cy="1412810"/>
              </a:xfrm>
              <a:custGeom>
                <a:avLst/>
                <a:gdLst>
                  <a:gd name="connsiteX0" fmla="*/ 0 w 1425080"/>
                  <a:gd name="connsiteY0" fmla="*/ 0 h 1412810"/>
                  <a:gd name="connsiteX1" fmla="*/ 1425080 w 1425080"/>
                  <a:gd name="connsiteY1" fmla="*/ 0 h 1412810"/>
                  <a:gd name="connsiteX2" fmla="*/ 1425080 w 1425080"/>
                  <a:gd name="connsiteY2" fmla="*/ 1412810 h 1412810"/>
                  <a:gd name="connsiteX3" fmla="*/ 0 w 1425080"/>
                  <a:gd name="connsiteY3" fmla="*/ 1412810 h 14128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425080" h="1412810">
                    <a:moveTo>
                      <a:pt x="0" y="0"/>
                    </a:moveTo>
                    <a:lnTo>
                      <a:pt x="1425080" y="0"/>
                    </a:lnTo>
                    <a:lnTo>
                      <a:pt x="1425080" y="1412810"/>
                    </a:lnTo>
                    <a:lnTo>
                      <a:pt x="0" y="1412810"/>
                    </a:lnTo>
                    <a:close/>
                  </a:path>
                </a:pathLst>
              </a:custGeom>
            </p:spPr>
          </p:pic>
          <p:pic>
            <p:nvPicPr>
              <p:cNvPr id="38" name="Picture 37">
                <a:extLst>
                  <a:ext uri="{FF2B5EF4-FFF2-40B4-BE49-F238E27FC236}">
                    <a16:creationId xmlns:a16="http://schemas.microsoft.com/office/drawing/2014/main" id="{4B3E1175-FC7B-4851-8C36-C1A36B45F86C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32987" t="13143" r="-2475" b="8671"/>
              <a:stretch/>
            </p:blipFill>
            <p:spPr>
              <a:xfrm>
                <a:off x="1797650" y="2297936"/>
                <a:ext cx="4374773" cy="1608177"/>
              </a:xfrm>
              <a:custGeom>
                <a:avLst/>
                <a:gdLst>
                  <a:gd name="connsiteX0" fmla="*/ 0 w 4374773"/>
                  <a:gd name="connsiteY0" fmla="*/ 0 h 1741864"/>
                  <a:gd name="connsiteX1" fmla="*/ 4374773 w 4374773"/>
                  <a:gd name="connsiteY1" fmla="*/ 0 h 1741864"/>
                  <a:gd name="connsiteX2" fmla="*/ 4374773 w 4374773"/>
                  <a:gd name="connsiteY2" fmla="*/ 1741864 h 1741864"/>
                  <a:gd name="connsiteX3" fmla="*/ 0 w 4374773"/>
                  <a:gd name="connsiteY3" fmla="*/ 1741864 h 17418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74773" h="1741864">
                    <a:moveTo>
                      <a:pt x="0" y="0"/>
                    </a:moveTo>
                    <a:lnTo>
                      <a:pt x="4374773" y="0"/>
                    </a:lnTo>
                    <a:lnTo>
                      <a:pt x="4374773" y="1741864"/>
                    </a:lnTo>
                    <a:lnTo>
                      <a:pt x="0" y="1741864"/>
                    </a:lnTo>
                    <a:close/>
                  </a:path>
                </a:pathLst>
              </a:custGeom>
            </p:spPr>
          </p:pic>
        </p:grpSp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3264E504-EEA2-4C9F-B38C-F1B0FEEF4CAC}"/>
                </a:ext>
              </a:extLst>
            </p:cNvPr>
            <p:cNvGrpSpPr/>
            <p:nvPr/>
          </p:nvGrpSpPr>
          <p:grpSpPr>
            <a:xfrm>
              <a:off x="383467" y="367458"/>
              <a:ext cx="5779433" cy="1528842"/>
              <a:chOff x="392992" y="527185"/>
              <a:chExt cx="5779433" cy="1528842"/>
            </a:xfrm>
          </p:grpSpPr>
          <p:pic>
            <p:nvPicPr>
              <p:cNvPr id="68" name="Picture 67">
                <a:extLst>
                  <a:ext uri="{FF2B5EF4-FFF2-40B4-BE49-F238E27FC236}">
                    <a16:creationId xmlns:a16="http://schemas.microsoft.com/office/drawing/2014/main" id="{1B273EAB-7E0C-4A47-9226-FC530BF43B0B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5468" t="-6003" r="66869" b="-3962"/>
              <a:stretch/>
            </p:blipFill>
            <p:spPr>
              <a:xfrm>
                <a:off x="392992" y="527185"/>
                <a:ext cx="1425080" cy="1412811"/>
              </a:xfrm>
              <a:custGeom>
                <a:avLst/>
                <a:gdLst>
                  <a:gd name="connsiteX0" fmla="*/ 0 w 917575"/>
                  <a:gd name="connsiteY0" fmla="*/ 0 h 909675"/>
                  <a:gd name="connsiteX1" fmla="*/ 917575 w 917575"/>
                  <a:gd name="connsiteY1" fmla="*/ 0 h 909675"/>
                  <a:gd name="connsiteX2" fmla="*/ 917575 w 917575"/>
                  <a:gd name="connsiteY2" fmla="*/ 909675 h 909675"/>
                  <a:gd name="connsiteX3" fmla="*/ 0 w 917575"/>
                  <a:gd name="connsiteY3" fmla="*/ 909675 h 9096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7575" h="909675">
                    <a:moveTo>
                      <a:pt x="0" y="0"/>
                    </a:moveTo>
                    <a:lnTo>
                      <a:pt x="917575" y="0"/>
                    </a:lnTo>
                    <a:lnTo>
                      <a:pt x="917575" y="909675"/>
                    </a:lnTo>
                    <a:lnTo>
                      <a:pt x="0" y="909675"/>
                    </a:lnTo>
                    <a:close/>
                  </a:path>
                </a:pathLst>
              </a:custGeom>
            </p:spPr>
          </p:pic>
          <p:pic>
            <p:nvPicPr>
              <p:cNvPr id="63" name="Picture 62">
                <a:extLst>
                  <a:ext uri="{FF2B5EF4-FFF2-40B4-BE49-F238E27FC236}">
                    <a16:creationId xmlns:a16="http://schemas.microsoft.com/office/drawing/2014/main" id="{EB88A6E0-C2AC-4059-820F-FC3B91E21A2E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33956" t="4006" r="2305" b="6680"/>
              <a:stretch/>
            </p:blipFill>
            <p:spPr>
              <a:xfrm>
                <a:off x="1797651" y="527185"/>
                <a:ext cx="4374774" cy="1528842"/>
              </a:xfrm>
              <a:custGeom>
                <a:avLst/>
                <a:gdLst>
                  <a:gd name="connsiteX0" fmla="*/ 0 w 4095065"/>
                  <a:gd name="connsiteY0" fmla="*/ 0 h 909675"/>
                  <a:gd name="connsiteX1" fmla="*/ 4095065 w 4095065"/>
                  <a:gd name="connsiteY1" fmla="*/ 0 h 909675"/>
                  <a:gd name="connsiteX2" fmla="*/ 4095065 w 4095065"/>
                  <a:gd name="connsiteY2" fmla="*/ 909675 h 909675"/>
                  <a:gd name="connsiteX3" fmla="*/ 0 w 4095065"/>
                  <a:gd name="connsiteY3" fmla="*/ 909675 h 9096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095065" h="909675">
                    <a:moveTo>
                      <a:pt x="0" y="0"/>
                    </a:moveTo>
                    <a:lnTo>
                      <a:pt x="4095065" y="0"/>
                    </a:lnTo>
                    <a:lnTo>
                      <a:pt x="4095065" y="909675"/>
                    </a:lnTo>
                    <a:lnTo>
                      <a:pt x="0" y="909675"/>
                    </a:lnTo>
                    <a:close/>
                  </a:path>
                </a:pathLst>
              </a:custGeom>
            </p:spPr>
          </p:pic>
        </p:grpSp>
        <p:grpSp>
          <p:nvGrpSpPr>
            <p:cNvPr id="2" name="Group 1">
              <a:extLst>
                <a:ext uri="{FF2B5EF4-FFF2-40B4-BE49-F238E27FC236}">
                  <a16:creationId xmlns:a16="http://schemas.microsoft.com/office/drawing/2014/main" id="{C6A72FD5-B3CB-4D7F-8642-AD1B2BE936F6}"/>
                </a:ext>
              </a:extLst>
            </p:cNvPr>
            <p:cNvGrpSpPr/>
            <p:nvPr/>
          </p:nvGrpSpPr>
          <p:grpSpPr>
            <a:xfrm>
              <a:off x="401564" y="4237908"/>
              <a:ext cx="5743239" cy="2345249"/>
              <a:chOff x="411089" y="4191148"/>
              <a:chExt cx="5743239" cy="2345249"/>
            </a:xfrm>
          </p:grpSpPr>
          <p:pic>
            <p:nvPicPr>
              <p:cNvPr id="66" name="Picture 65">
                <a:extLst>
                  <a:ext uri="{FF2B5EF4-FFF2-40B4-BE49-F238E27FC236}">
                    <a16:creationId xmlns:a16="http://schemas.microsoft.com/office/drawing/2014/main" id="{22BFEC5D-EDEB-4EE8-8037-3E3F984559B3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32768" t="9595" r="-1553" b="5072"/>
              <a:stretch/>
            </p:blipFill>
            <p:spPr>
              <a:xfrm>
                <a:off x="1779555" y="4191148"/>
                <a:ext cx="4374773" cy="2345249"/>
              </a:xfrm>
              <a:custGeom>
                <a:avLst/>
                <a:gdLst>
                  <a:gd name="connsiteX0" fmla="*/ 0 w 4095065"/>
                  <a:gd name="connsiteY0" fmla="*/ 0 h 909675"/>
                  <a:gd name="connsiteX1" fmla="*/ 4095065 w 4095065"/>
                  <a:gd name="connsiteY1" fmla="*/ 0 h 909675"/>
                  <a:gd name="connsiteX2" fmla="*/ 4095065 w 4095065"/>
                  <a:gd name="connsiteY2" fmla="*/ 909675 h 909675"/>
                  <a:gd name="connsiteX3" fmla="*/ 0 w 4095065"/>
                  <a:gd name="connsiteY3" fmla="*/ 909675 h 9096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095065" h="909675">
                    <a:moveTo>
                      <a:pt x="0" y="0"/>
                    </a:moveTo>
                    <a:lnTo>
                      <a:pt x="4095065" y="0"/>
                    </a:lnTo>
                    <a:lnTo>
                      <a:pt x="4095065" y="909675"/>
                    </a:lnTo>
                    <a:lnTo>
                      <a:pt x="0" y="909675"/>
                    </a:lnTo>
                    <a:close/>
                  </a:path>
                </a:pathLst>
              </a:custGeom>
            </p:spPr>
          </p:pic>
          <p:pic>
            <p:nvPicPr>
              <p:cNvPr id="74" name="Picture 73">
                <a:extLst>
                  <a:ext uri="{FF2B5EF4-FFF2-40B4-BE49-F238E27FC236}">
                    <a16:creationId xmlns:a16="http://schemas.microsoft.com/office/drawing/2014/main" id="{C809BBA1-2476-435D-9D8F-C8B938E8EE1D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3159" t="3031" r="67137" b="28821"/>
              <a:stretch/>
            </p:blipFill>
            <p:spPr>
              <a:xfrm>
                <a:off x="411089" y="4298666"/>
                <a:ext cx="1425082" cy="1412811"/>
              </a:xfrm>
              <a:custGeom>
                <a:avLst/>
                <a:gdLst>
                  <a:gd name="connsiteX0" fmla="*/ 0 w 917575"/>
                  <a:gd name="connsiteY0" fmla="*/ 0 h 909675"/>
                  <a:gd name="connsiteX1" fmla="*/ 917575 w 917575"/>
                  <a:gd name="connsiteY1" fmla="*/ 0 h 909675"/>
                  <a:gd name="connsiteX2" fmla="*/ 917575 w 917575"/>
                  <a:gd name="connsiteY2" fmla="*/ 909675 h 909675"/>
                  <a:gd name="connsiteX3" fmla="*/ 0 w 917575"/>
                  <a:gd name="connsiteY3" fmla="*/ 909675 h 9096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7575" h="909675">
                    <a:moveTo>
                      <a:pt x="0" y="0"/>
                    </a:moveTo>
                    <a:lnTo>
                      <a:pt x="917575" y="0"/>
                    </a:lnTo>
                    <a:lnTo>
                      <a:pt x="917575" y="909675"/>
                    </a:lnTo>
                    <a:lnTo>
                      <a:pt x="0" y="909675"/>
                    </a:lnTo>
                    <a:close/>
                  </a:path>
                </a:pathLst>
              </a:custGeom>
            </p:spPr>
          </p:pic>
        </p:grpSp>
        <p:cxnSp>
          <p:nvCxnSpPr>
            <p:cNvPr id="80" name="Straight Connector 79">
              <a:extLst>
                <a:ext uri="{FF2B5EF4-FFF2-40B4-BE49-F238E27FC236}">
                  <a16:creationId xmlns:a16="http://schemas.microsoft.com/office/drawing/2014/main" id="{51050D9D-4058-4D45-A51D-AB2BBB5F8A79}"/>
                </a:ext>
              </a:extLst>
            </p:cNvPr>
            <p:cNvCxnSpPr>
              <a:cxnSpLocks/>
            </p:cNvCxnSpPr>
            <p:nvPr/>
          </p:nvCxnSpPr>
          <p:spPr>
            <a:xfrm>
              <a:off x="371248" y="4057925"/>
              <a:ext cx="5790150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Straight Connector 81">
              <a:extLst>
                <a:ext uri="{FF2B5EF4-FFF2-40B4-BE49-F238E27FC236}">
                  <a16:creationId xmlns:a16="http://schemas.microsoft.com/office/drawing/2014/main" id="{61D2AF1F-4132-440F-9D32-9AF207CE1448}"/>
                </a:ext>
              </a:extLst>
            </p:cNvPr>
            <p:cNvCxnSpPr>
              <a:cxnSpLocks/>
            </p:cNvCxnSpPr>
            <p:nvPr/>
          </p:nvCxnSpPr>
          <p:spPr>
            <a:xfrm>
              <a:off x="371248" y="2076284"/>
              <a:ext cx="5790150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2" name="Group 91">
            <a:extLst>
              <a:ext uri="{FF2B5EF4-FFF2-40B4-BE49-F238E27FC236}">
                <a16:creationId xmlns:a16="http://schemas.microsoft.com/office/drawing/2014/main" id="{56FB6ED9-4944-4C39-B3F1-D940C9ED2E39}"/>
              </a:ext>
            </a:extLst>
          </p:cNvPr>
          <p:cNvGrpSpPr/>
          <p:nvPr/>
        </p:nvGrpSpPr>
        <p:grpSpPr>
          <a:xfrm>
            <a:off x="10928712" y="6378850"/>
            <a:ext cx="947290" cy="270982"/>
            <a:chOff x="4103688" y="-2378075"/>
            <a:chExt cx="1309687" cy="374650"/>
          </a:xfrm>
          <a:solidFill>
            <a:srgbClr val="468DC3"/>
          </a:solidFill>
        </p:grpSpPr>
        <p:sp>
          <p:nvSpPr>
            <p:cNvPr id="93" name="Freeform 254">
              <a:extLst>
                <a:ext uri="{FF2B5EF4-FFF2-40B4-BE49-F238E27FC236}">
                  <a16:creationId xmlns:a16="http://schemas.microsoft.com/office/drawing/2014/main" id="{73820BC4-C177-49E8-B574-9F605AACCC1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03688" y="-2374900"/>
              <a:ext cx="182562" cy="288925"/>
            </a:xfrm>
            <a:custGeom>
              <a:avLst/>
              <a:gdLst>
                <a:gd name="T0" fmla="*/ 43 w 61"/>
                <a:gd name="T1" fmla="*/ 47 h 95"/>
                <a:gd name="T2" fmla="*/ 30 w 61"/>
                <a:gd name="T3" fmla="*/ 55 h 95"/>
                <a:gd name="T4" fmla="*/ 11 w 61"/>
                <a:gd name="T5" fmla="*/ 83 h 95"/>
                <a:gd name="T6" fmla="*/ 11 w 61"/>
                <a:gd name="T7" fmla="*/ 85 h 95"/>
                <a:gd name="T8" fmla="*/ 57 w 61"/>
                <a:gd name="T9" fmla="*/ 85 h 95"/>
                <a:gd name="T10" fmla="*/ 60 w 61"/>
                <a:gd name="T11" fmla="*/ 88 h 95"/>
                <a:gd name="T12" fmla="*/ 60 w 61"/>
                <a:gd name="T13" fmla="*/ 93 h 95"/>
                <a:gd name="T14" fmla="*/ 57 w 61"/>
                <a:gd name="T15" fmla="*/ 95 h 95"/>
                <a:gd name="T16" fmla="*/ 3 w 61"/>
                <a:gd name="T17" fmla="*/ 95 h 95"/>
                <a:gd name="T18" fmla="*/ 0 w 61"/>
                <a:gd name="T19" fmla="*/ 93 h 95"/>
                <a:gd name="T20" fmla="*/ 0 w 61"/>
                <a:gd name="T21" fmla="*/ 83 h 95"/>
                <a:gd name="T22" fmla="*/ 21 w 61"/>
                <a:gd name="T23" fmla="*/ 49 h 95"/>
                <a:gd name="T24" fmla="*/ 35 w 61"/>
                <a:gd name="T25" fmla="*/ 40 h 95"/>
                <a:gd name="T26" fmla="*/ 49 w 61"/>
                <a:gd name="T27" fmla="*/ 22 h 95"/>
                <a:gd name="T28" fmla="*/ 28 w 61"/>
                <a:gd name="T29" fmla="*/ 9 h 95"/>
                <a:gd name="T30" fmla="*/ 4 w 61"/>
                <a:gd name="T31" fmla="*/ 11 h 95"/>
                <a:gd name="T32" fmla="*/ 3 w 61"/>
                <a:gd name="T33" fmla="*/ 11 h 95"/>
                <a:gd name="T34" fmla="*/ 1 w 61"/>
                <a:gd name="T35" fmla="*/ 9 h 95"/>
                <a:gd name="T36" fmla="*/ 1 w 61"/>
                <a:gd name="T37" fmla="*/ 4 h 95"/>
                <a:gd name="T38" fmla="*/ 4 w 61"/>
                <a:gd name="T39" fmla="*/ 2 h 95"/>
                <a:gd name="T40" fmla="*/ 28 w 61"/>
                <a:gd name="T41" fmla="*/ 0 h 95"/>
                <a:gd name="T42" fmla="*/ 61 w 61"/>
                <a:gd name="T43" fmla="*/ 22 h 95"/>
                <a:gd name="T44" fmla="*/ 43 w 61"/>
                <a:gd name="T45" fmla="*/ 47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61" h="95">
                  <a:moveTo>
                    <a:pt x="43" y="47"/>
                  </a:moveTo>
                  <a:cubicBezTo>
                    <a:pt x="30" y="55"/>
                    <a:pt x="30" y="55"/>
                    <a:pt x="30" y="55"/>
                  </a:cubicBezTo>
                  <a:cubicBezTo>
                    <a:pt x="15" y="65"/>
                    <a:pt x="11" y="72"/>
                    <a:pt x="11" y="83"/>
                  </a:cubicBezTo>
                  <a:cubicBezTo>
                    <a:pt x="11" y="85"/>
                    <a:pt x="11" y="85"/>
                    <a:pt x="11" y="85"/>
                  </a:cubicBezTo>
                  <a:cubicBezTo>
                    <a:pt x="57" y="85"/>
                    <a:pt x="57" y="85"/>
                    <a:pt x="57" y="85"/>
                  </a:cubicBezTo>
                  <a:cubicBezTo>
                    <a:pt x="59" y="85"/>
                    <a:pt x="60" y="86"/>
                    <a:pt x="60" y="88"/>
                  </a:cubicBezTo>
                  <a:cubicBezTo>
                    <a:pt x="60" y="93"/>
                    <a:pt x="60" y="93"/>
                    <a:pt x="60" y="93"/>
                  </a:cubicBezTo>
                  <a:cubicBezTo>
                    <a:pt x="60" y="95"/>
                    <a:pt x="59" y="95"/>
                    <a:pt x="57" y="95"/>
                  </a:cubicBezTo>
                  <a:cubicBezTo>
                    <a:pt x="3" y="95"/>
                    <a:pt x="3" y="95"/>
                    <a:pt x="3" y="95"/>
                  </a:cubicBezTo>
                  <a:cubicBezTo>
                    <a:pt x="1" y="95"/>
                    <a:pt x="0" y="94"/>
                    <a:pt x="0" y="93"/>
                  </a:cubicBezTo>
                  <a:cubicBezTo>
                    <a:pt x="0" y="83"/>
                    <a:pt x="0" y="83"/>
                    <a:pt x="0" y="83"/>
                  </a:cubicBezTo>
                  <a:cubicBezTo>
                    <a:pt x="0" y="69"/>
                    <a:pt x="6" y="58"/>
                    <a:pt x="21" y="49"/>
                  </a:cubicBezTo>
                  <a:cubicBezTo>
                    <a:pt x="35" y="40"/>
                    <a:pt x="35" y="40"/>
                    <a:pt x="35" y="40"/>
                  </a:cubicBezTo>
                  <a:cubicBezTo>
                    <a:pt x="46" y="33"/>
                    <a:pt x="49" y="30"/>
                    <a:pt x="49" y="22"/>
                  </a:cubicBezTo>
                  <a:cubicBezTo>
                    <a:pt x="49" y="13"/>
                    <a:pt x="43" y="9"/>
                    <a:pt x="28" y="9"/>
                  </a:cubicBezTo>
                  <a:cubicBezTo>
                    <a:pt x="21" y="9"/>
                    <a:pt x="12" y="10"/>
                    <a:pt x="4" y="11"/>
                  </a:cubicBezTo>
                  <a:cubicBezTo>
                    <a:pt x="4" y="11"/>
                    <a:pt x="4" y="11"/>
                    <a:pt x="3" y="11"/>
                  </a:cubicBezTo>
                  <a:cubicBezTo>
                    <a:pt x="2" y="11"/>
                    <a:pt x="1" y="10"/>
                    <a:pt x="1" y="9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3"/>
                    <a:pt x="3" y="2"/>
                    <a:pt x="4" y="2"/>
                  </a:cubicBezTo>
                  <a:cubicBezTo>
                    <a:pt x="11" y="0"/>
                    <a:pt x="20" y="0"/>
                    <a:pt x="28" y="0"/>
                  </a:cubicBezTo>
                  <a:cubicBezTo>
                    <a:pt x="51" y="0"/>
                    <a:pt x="61" y="7"/>
                    <a:pt x="61" y="22"/>
                  </a:cubicBezTo>
                  <a:cubicBezTo>
                    <a:pt x="61" y="33"/>
                    <a:pt x="56" y="39"/>
                    <a:pt x="43" y="4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4" name="Freeform 255">
              <a:extLst>
                <a:ext uri="{FF2B5EF4-FFF2-40B4-BE49-F238E27FC236}">
                  <a16:creationId xmlns:a16="http://schemas.microsoft.com/office/drawing/2014/main" id="{137DFC2F-F31C-415D-BC34-733E075AE5D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08463" y="-2308225"/>
              <a:ext cx="211137" cy="304800"/>
            </a:xfrm>
            <a:custGeom>
              <a:avLst/>
              <a:gdLst>
                <a:gd name="T0" fmla="*/ 68 w 70"/>
                <a:gd name="T1" fmla="*/ 74 h 100"/>
                <a:gd name="T2" fmla="*/ 56 w 70"/>
                <a:gd name="T3" fmla="*/ 74 h 100"/>
                <a:gd name="T4" fmla="*/ 56 w 70"/>
                <a:gd name="T5" fmla="*/ 98 h 100"/>
                <a:gd name="T6" fmla="*/ 54 w 70"/>
                <a:gd name="T7" fmla="*/ 100 h 100"/>
                <a:gd name="T8" fmla="*/ 46 w 70"/>
                <a:gd name="T9" fmla="*/ 100 h 100"/>
                <a:gd name="T10" fmla="*/ 44 w 70"/>
                <a:gd name="T11" fmla="*/ 98 h 100"/>
                <a:gd name="T12" fmla="*/ 44 w 70"/>
                <a:gd name="T13" fmla="*/ 74 h 100"/>
                <a:gd name="T14" fmla="*/ 5 w 70"/>
                <a:gd name="T15" fmla="*/ 74 h 100"/>
                <a:gd name="T16" fmla="*/ 0 w 70"/>
                <a:gd name="T17" fmla="*/ 68 h 100"/>
                <a:gd name="T18" fmla="*/ 0 w 70"/>
                <a:gd name="T19" fmla="*/ 63 h 100"/>
                <a:gd name="T20" fmla="*/ 1 w 70"/>
                <a:gd name="T21" fmla="*/ 58 h 100"/>
                <a:gd name="T22" fmla="*/ 41 w 70"/>
                <a:gd name="T23" fmla="*/ 2 h 100"/>
                <a:gd name="T24" fmla="*/ 45 w 70"/>
                <a:gd name="T25" fmla="*/ 0 h 100"/>
                <a:gd name="T26" fmla="*/ 52 w 70"/>
                <a:gd name="T27" fmla="*/ 0 h 100"/>
                <a:gd name="T28" fmla="*/ 56 w 70"/>
                <a:gd name="T29" fmla="*/ 3 h 100"/>
                <a:gd name="T30" fmla="*/ 56 w 70"/>
                <a:gd name="T31" fmla="*/ 63 h 100"/>
                <a:gd name="T32" fmla="*/ 68 w 70"/>
                <a:gd name="T33" fmla="*/ 63 h 100"/>
                <a:gd name="T34" fmla="*/ 70 w 70"/>
                <a:gd name="T35" fmla="*/ 66 h 100"/>
                <a:gd name="T36" fmla="*/ 70 w 70"/>
                <a:gd name="T37" fmla="*/ 71 h 100"/>
                <a:gd name="T38" fmla="*/ 68 w 70"/>
                <a:gd name="T39" fmla="*/ 74 h 100"/>
                <a:gd name="T40" fmla="*/ 44 w 70"/>
                <a:gd name="T41" fmla="*/ 17 h 100"/>
                <a:gd name="T42" fmla="*/ 43 w 70"/>
                <a:gd name="T43" fmla="*/ 17 h 100"/>
                <a:gd name="T44" fmla="*/ 43 w 70"/>
                <a:gd name="T45" fmla="*/ 17 h 100"/>
                <a:gd name="T46" fmla="*/ 42 w 70"/>
                <a:gd name="T47" fmla="*/ 17 h 100"/>
                <a:gd name="T48" fmla="*/ 11 w 70"/>
                <a:gd name="T49" fmla="*/ 61 h 100"/>
                <a:gd name="T50" fmla="*/ 11 w 70"/>
                <a:gd name="T51" fmla="*/ 63 h 100"/>
                <a:gd name="T52" fmla="*/ 12 w 70"/>
                <a:gd name="T53" fmla="*/ 63 h 100"/>
                <a:gd name="T54" fmla="*/ 44 w 70"/>
                <a:gd name="T55" fmla="*/ 63 h 100"/>
                <a:gd name="T56" fmla="*/ 44 w 70"/>
                <a:gd name="T57" fmla="*/ 17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70" h="100">
                  <a:moveTo>
                    <a:pt x="68" y="74"/>
                  </a:moveTo>
                  <a:cubicBezTo>
                    <a:pt x="56" y="74"/>
                    <a:pt x="56" y="74"/>
                    <a:pt x="56" y="74"/>
                  </a:cubicBezTo>
                  <a:cubicBezTo>
                    <a:pt x="56" y="98"/>
                    <a:pt x="56" y="98"/>
                    <a:pt x="56" y="98"/>
                  </a:cubicBezTo>
                  <a:cubicBezTo>
                    <a:pt x="56" y="99"/>
                    <a:pt x="55" y="100"/>
                    <a:pt x="54" y="100"/>
                  </a:cubicBezTo>
                  <a:cubicBezTo>
                    <a:pt x="46" y="100"/>
                    <a:pt x="46" y="100"/>
                    <a:pt x="46" y="100"/>
                  </a:cubicBezTo>
                  <a:cubicBezTo>
                    <a:pt x="44" y="100"/>
                    <a:pt x="44" y="99"/>
                    <a:pt x="44" y="98"/>
                  </a:cubicBezTo>
                  <a:cubicBezTo>
                    <a:pt x="44" y="74"/>
                    <a:pt x="44" y="74"/>
                    <a:pt x="44" y="74"/>
                  </a:cubicBezTo>
                  <a:cubicBezTo>
                    <a:pt x="5" y="74"/>
                    <a:pt x="5" y="74"/>
                    <a:pt x="5" y="74"/>
                  </a:cubicBezTo>
                  <a:cubicBezTo>
                    <a:pt x="1" y="74"/>
                    <a:pt x="0" y="72"/>
                    <a:pt x="0" y="68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0" y="61"/>
                    <a:pt x="0" y="60"/>
                    <a:pt x="1" y="58"/>
                  </a:cubicBezTo>
                  <a:cubicBezTo>
                    <a:pt x="41" y="2"/>
                    <a:pt x="41" y="2"/>
                    <a:pt x="41" y="2"/>
                  </a:cubicBezTo>
                  <a:cubicBezTo>
                    <a:pt x="41" y="1"/>
                    <a:pt x="42" y="0"/>
                    <a:pt x="45" y="0"/>
                  </a:cubicBezTo>
                  <a:cubicBezTo>
                    <a:pt x="52" y="0"/>
                    <a:pt x="52" y="0"/>
                    <a:pt x="52" y="0"/>
                  </a:cubicBezTo>
                  <a:cubicBezTo>
                    <a:pt x="55" y="0"/>
                    <a:pt x="56" y="1"/>
                    <a:pt x="56" y="3"/>
                  </a:cubicBezTo>
                  <a:cubicBezTo>
                    <a:pt x="56" y="63"/>
                    <a:pt x="56" y="63"/>
                    <a:pt x="56" y="63"/>
                  </a:cubicBezTo>
                  <a:cubicBezTo>
                    <a:pt x="68" y="63"/>
                    <a:pt x="68" y="63"/>
                    <a:pt x="68" y="63"/>
                  </a:cubicBezTo>
                  <a:cubicBezTo>
                    <a:pt x="69" y="63"/>
                    <a:pt x="70" y="64"/>
                    <a:pt x="70" y="66"/>
                  </a:cubicBezTo>
                  <a:cubicBezTo>
                    <a:pt x="70" y="71"/>
                    <a:pt x="70" y="71"/>
                    <a:pt x="70" y="71"/>
                  </a:cubicBezTo>
                  <a:cubicBezTo>
                    <a:pt x="70" y="73"/>
                    <a:pt x="69" y="74"/>
                    <a:pt x="68" y="74"/>
                  </a:cubicBezTo>
                  <a:close/>
                  <a:moveTo>
                    <a:pt x="44" y="17"/>
                  </a:moveTo>
                  <a:cubicBezTo>
                    <a:pt x="44" y="17"/>
                    <a:pt x="44" y="17"/>
                    <a:pt x="43" y="17"/>
                  </a:cubicBezTo>
                  <a:cubicBezTo>
                    <a:pt x="43" y="17"/>
                    <a:pt x="43" y="17"/>
                    <a:pt x="43" y="17"/>
                  </a:cubicBezTo>
                  <a:cubicBezTo>
                    <a:pt x="43" y="17"/>
                    <a:pt x="42" y="17"/>
                    <a:pt x="42" y="17"/>
                  </a:cubicBezTo>
                  <a:cubicBezTo>
                    <a:pt x="11" y="61"/>
                    <a:pt x="11" y="61"/>
                    <a:pt x="11" y="61"/>
                  </a:cubicBezTo>
                  <a:cubicBezTo>
                    <a:pt x="11" y="62"/>
                    <a:pt x="11" y="62"/>
                    <a:pt x="11" y="63"/>
                  </a:cubicBezTo>
                  <a:cubicBezTo>
                    <a:pt x="11" y="63"/>
                    <a:pt x="11" y="63"/>
                    <a:pt x="12" y="63"/>
                  </a:cubicBezTo>
                  <a:cubicBezTo>
                    <a:pt x="44" y="63"/>
                    <a:pt x="44" y="63"/>
                    <a:pt x="44" y="63"/>
                  </a:cubicBezTo>
                  <a:lnTo>
                    <a:pt x="44" y="1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5" name="Freeform 256">
              <a:extLst>
                <a:ext uri="{FF2B5EF4-FFF2-40B4-BE49-F238E27FC236}">
                  <a16:creationId xmlns:a16="http://schemas.microsoft.com/office/drawing/2014/main" id="{2F17AE13-EE80-4D63-86B9-BDDD46D74B7C}"/>
                </a:ext>
              </a:extLst>
            </p:cNvPr>
            <p:cNvSpPr>
              <a:spLocks/>
            </p:cNvSpPr>
            <p:nvPr/>
          </p:nvSpPr>
          <p:spPr bwMode="auto">
            <a:xfrm>
              <a:off x="4645025" y="-2374900"/>
              <a:ext cx="34925" cy="292100"/>
            </a:xfrm>
            <a:custGeom>
              <a:avLst/>
              <a:gdLst>
                <a:gd name="T0" fmla="*/ 11 w 12"/>
                <a:gd name="T1" fmla="*/ 95 h 96"/>
                <a:gd name="T2" fmla="*/ 10 w 12"/>
                <a:gd name="T3" fmla="*/ 96 h 96"/>
                <a:gd name="T4" fmla="*/ 3 w 12"/>
                <a:gd name="T5" fmla="*/ 96 h 96"/>
                <a:gd name="T6" fmla="*/ 1 w 12"/>
                <a:gd name="T7" fmla="*/ 95 h 96"/>
                <a:gd name="T8" fmla="*/ 0 w 12"/>
                <a:gd name="T9" fmla="*/ 93 h 96"/>
                <a:gd name="T10" fmla="*/ 0 w 12"/>
                <a:gd name="T11" fmla="*/ 2 h 96"/>
                <a:gd name="T12" fmla="*/ 1 w 12"/>
                <a:gd name="T13" fmla="*/ 1 h 96"/>
                <a:gd name="T14" fmla="*/ 3 w 12"/>
                <a:gd name="T15" fmla="*/ 0 h 96"/>
                <a:gd name="T16" fmla="*/ 10 w 12"/>
                <a:gd name="T17" fmla="*/ 0 h 96"/>
                <a:gd name="T18" fmla="*/ 11 w 12"/>
                <a:gd name="T19" fmla="*/ 1 h 96"/>
                <a:gd name="T20" fmla="*/ 12 w 12"/>
                <a:gd name="T21" fmla="*/ 2 h 96"/>
                <a:gd name="T22" fmla="*/ 12 w 12"/>
                <a:gd name="T23" fmla="*/ 93 h 96"/>
                <a:gd name="T24" fmla="*/ 11 w 12"/>
                <a:gd name="T25" fmla="*/ 95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" h="96">
                  <a:moveTo>
                    <a:pt x="11" y="95"/>
                  </a:moveTo>
                  <a:cubicBezTo>
                    <a:pt x="11" y="95"/>
                    <a:pt x="10" y="96"/>
                    <a:pt x="10" y="96"/>
                  </a:cubicBezTo>
                  <a:cubicBezTo>
                    <a:pt x="3" y="96"/>
                    <a:pt x="3" y="96"/>
                    <a:pt x="3" y="96"/>
                  </a:cubicBezTo>
                  <a:cubicBezTo>
                    <a:pt x="2" y="96"/>
                    <a:pt x="1" y="95"/>
                    <a:pt x="1" y="95"/>
                  </a:cubicBezTo>
                  <a:cubicBezTo>
                    <a:pt x="0" y="94"/>
                    <a:pt x="0" y="94"/>
                    <a:pt x="0" y="93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1"/>
                    <a:pt x="1" y="1"/>
                  </a:cubicBezTo>
                  <a:cubicBezTo>
                    <a:pt x="1" y="0"/>
                    <a:pt x="2" y="0"/>
                    <a:pt x="3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1" y="0"/>
                    <a:pt x="11" y="1"/>
                  </a:cubicBezTo>
                  <a:cubicBezTo>
                    <a:pt x="12" y="1"/>
                    <a:pt x="12" y="2"/>
                    <a:pt x="12" y="2"/>
                  </a:cubicBezTo>
                  <a:cubicBezTo>
                    <a:pt x="12" y="93"/>
                    <a:pt x="12" y="93"/>
                    <a:pt x="12" y="93"/>
                  </a:cubicBezTo>
                  <a:cubicBezTo>
                    <a:pt x="12" y="94"/>
                    <a:pt x="12" y="94"/>
                    <a:pt x="11" y="9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6" name="Freeform 257">
              <a:extLst>
                <a:ext uri="{FF2B5EF4-FFF2-40B4-BE49-F238E27FC236}">
                  <a16:creationId xmlns:a16="http://schemas.microsoft.com/office/drawing/2014/main" id="{A1B8A2FB-8732-414D-A4E3-094F84A1201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43450" y="-2378075"/>
              <a:ext cx="36512" cy="295275"/>
            </a:xfrm>
            <a:custGeom>
              <a:avLst/>
              <a:gdLst>
                <a:gd name="T0" fmla="*/ 11 w 12"/>
                <a:gd name="T1" fmla="*/ 15 h 97"/>
                <a:gd name="T2" fmla="*/ 9 w 12"/>
                <a:gd name="T3" fmla="*/ 15 h 97"/>
                <a:gd name="T4" fmla="*/ 3 w 12"/>
                <a:gd name="T5" fmla="*/ 15 h 97"/>
                <a:gd name="T6" fmla="*/ 1 w 12"/>
                <a:gd name="T7" fmla="*/ 15 h 97"/>
                <a:gd name="T8" fmla="*/ 0 w 12"/>
                <a:gd name="T9" fmla="*/ 13 h 97"/>
                <a:gd name="T10" fmla="*/ 0 w 12"/>
                <a:gd name="T11" fmla="*/ 3 h 97"/>
                <a:gd name="T12" fmla="*/ 1 w 12"/>
                <a:gd name="T13" fmla="*/ 1 h 97"/>
                <a:gd name="T14" fmla="*/ 3 w 12"/>
                <a:gd name="T15" fmla="*/ 0 h 97"/>
                <a:gd name="T16" fmla="*/ 9 w 12"/>
                <a:gd name="T17" fmla="*/ 0 h 97"/>
                <a:gd name="T18" fmla="*/ 11 w 12"/>
                <a:gd name="T19" fmla="*/ 1 h 97"/>
                <a:gd name="T20" fmla="*/ 12 w 12"/>
                <a:gd name="T21" fmla="*/ 3 h 97"/>
                <a:gd name="T22" fmla="*/ 12 w 12"/>
                <a:gd name="T23" fmla="*/ 13 h 97"/>
                <a:gd name="T24" fmla="*/ 11 w 12"/>
                <a:gd name="T25" fmla="*/ 15 h 97"/>
                <a:gd name="T26" fmla="*/ 11 w 12"/>
                <a:gd name="T27" fmla="*/ 96 h 97"/>
                <a:gd name="T28" fmla="*/ 9 w 12"/>
                <a:gd name="T29" fmla="*/ 97 h 97"/>
                <a:gd name="T30" fmla="*/ 3 w 12"/>
                <a:gd name="T31" fmla="*/ 97 h 97"/>
                <a:gd name="T32" fmla="*/ 1 w 12"/>
                <a:gd name="T33" fmla="*/ 96 h 97"/>
                <a:gd name="T34" fmla="*/ 0 w 12"/>
                <a:gd name="T35" fmla="*/ 94 h 97"/>
                <a:gd name="T36" fmla="*/ 0 w 12"/>
                <a:gd name="T37" fmla="*/ 29 h 97"/>
                <a:gd name="T38" fmla="*/ 1 w 12"/>
                <a:gd name="T39" fmla="*/ 27 h 97"/>
                <a:gd name="T40" fmla="*/ 3 w 12"/>
                <a:gd name="T41" fmla="*/ 27 h 97"/>
                <a:gd name="T42" fmla="*/ 9 w 12"/>
                <a:gd name="T43" fmla="*/ 27 h 97"/>
                <a:gd name="T44" fmla="*/ 11 w 12"/>
                <a:gd name="T45" fmla="*/ 27 h 97"/>
                <a:gd name="T46" fmla="*/ 12 w 12"/>
                <a:gd name="T47" fmla="*/ 29 h 97"/>
                <a:gd name="T48" fmla="*/ 12 w 12"/>
                <a:gd name="T49" fmla="*/ 94 h 97"/>
                <a:gd name="T50" fmla="*/ 11 w 12"/>
                <a:gd name="T51" fmla="*/ 96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2" h="97">
                  <a:moveTo>
                    <a:pt x="11" y="15"/>
                  </a:moveTo>
                  <a:cubicBezTo>
                    <a:pt x="11" y="15"/>
                    <a:pt x="10" y="15"/>
                    <a:pt x="9" y="15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2" y="15"/>
                    <a:pt x="1" y="15"/>
                    <a:pt x="1" y="15"/>
                  </a:cubicBezTo>
                  <a:cubicBezTo>
                    <a:pt x="0" y="14"/>
                    <a:pt x="0" y="14"/>
                    <a:pt x="0" y="1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0" y="1"/>
                    <a:pt x="1" y="1"/>
                  </a:cubicBezTo>
                  <a:cubicBezTo>
                    <a:pt x="1" y="0"/>
                    <a:pt x="2" y="0"/>
                    <a:pt x="3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0" y="0"/>
                    <a:pt x="11" y="0"/>
                    <a:pt x="11" y="1"/>
                  </a:cubicBezTo>
                  <a:cubicBezTo>
                    <a:pt x="12" y="1"/>
                    <a:pt x="12" y="2"/>
                    <a:pt x="12" y="3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2" y="14"/>
                    <a:pt x="12" y="14"/>
                    <a:pt x="11" y="15"/>
                  </a:cubicBezTo>
                  <a:close/>
                  <a:moveTo>
                    <a:pt x="11" y="96"/>
                  </a:moveTo>
                  <a:cubicBezTo>
                    <a:pt x="10" y="96"/>
                    <a:pt x="10" y="97"/>
                    <a:pt x="9" y="97"/>
                  </a:cubicBezTo>
                  <a:cubicBezTo>
                    <a:pt x="3" y="97"/>
                    <a:pt x="3" y="97"/>
                    <a:pt x="3" y="97"/>
                  </a:cubicBezTo>
                  <a:cubicBezTo>
                    <a:pt x="2" y="97"/>
                    <a:pt x="1" y="96"/>
                    <a:pt x="1" y="96"/>
                  </a:cubicBezTo>
                  <a:cubicBezTo>
                    <a:pt x="0" y="95"/>
                    <a:pt x="0" y="95"/>
                    <a:pt x="0" y="94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28"/>
                    <a:pt x="0" y="28"/>
                    <a:pt x="1" y="27"/>
                  </a:cubicBezTo>
                  <a:cubicBezTo>
                    <a:pt x="1" y="27"/>
                    <a:pt x="2" y="27"/>
                    <a:pt x="3" y="27"/>
                  </a:cubicBezTo>
                  <a:cubicBezTo>
                    <a:pt x="9" y="27"/>
                    <a:pt x="9" y="27"/>
                    <a:pt x="9" y="27"/>
                  </a:cubicBezTo>
                  <a:cubicBezTo>
                    <a:pt x="10" y="27"/>
                    <a:pt x="10" y="27"/>
                    <a:pt x="11" y="27"/>
                  </a:cubicBezTo>
                  <a:cubicBezTo>
                    <a:pt x="11" y="28"/>
                    <a:pt x="12" y="28"/>
                    <a:pt x="12" y="29"/>
                  </a:cubicBezTo>
                  <a:cubicBezTo>
                    <a:pt x="12" y="94"/>
                    <a:pt x="12" y="94"/>
                    <a:pt x="12" y="94"/>
                  </a:cubicBezTo>
                  <a:cubicBezTo>
                    <a:pt x="12" y="95"/>
                    <a:pt x="11" y="95"/>
                    <a:pt x="11" y="9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7" name="Freeform 258">
              <a:extLst>
                <a:ext uri="{FF2B5EF4-FFF2-40B4-BE49-F238E27FC236}">
                  <a16:creationId xmlns:a16="http://schemas.microsoft.com/office/drawing/2014/main" id="{5BE0B229-8A14-4FE7-ABC2-5C80BBE5602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30763" y="-2374900"/>
              <a:ext cx="171450" cy="295275"/>
            </a:xfrm>
            <a:custGeom>
              <a:avLst/>
              <a:gdLst>
                <a:gd name="T0" fmla="*/ 56 w 57"/>
                <a:gd name="T1" fmla="*/ 93 h 97"/>
                <a:gd name="T2" fmla="*/ 54 w 57"/>
                <a:gd name="T3" fmla="*/ 94 h 97"/>
                <a:gd name="T4" fmla="*/ 41 w 57"/>
                <a:gd name="T5" fmla="*/ 96 h 97"/>
                <a:gd name="T6" fmla="*/ 29 w 57"/>
                <a:gd name="T7" fmla="*/ 97 h 97"/>
                <a:gd name="T8" fmla="*/ 16 w 57"/>
                <a:gd name="T9" fmla="*/ 94 h 97"/>
                <a:gd name="T10" fmla="*/ 7 w 57"/>
                <a:gd name="T11" fmla="*/ 88 h 97"/>
                <a:gd name="T12" fmla="*/ 2 w 57"/>
                <a:gd name="T13" fmla="*/ 78 h 97"/>
                <a:gd name="T14" fmla="*/ 0 w 57"/>
                <a:gd name="T15" fmla="*/ 65 h 97"/>
                <a:gd name="T16" fmla="*/ 0 w 57"/>
                <a:gd name="T17" fmla="*/ 56 h 97"/>
                <a:gd name="T18" fmla="*/ 7 w 57"/>
                <a:gd name="T19" fmla="*/ 33 h 97"/>
                <a:gd name="T20" fmla="*/ 29 w 57"/>
                <a:gd name="T21" fmla="*/ 25 h 97"/>
                <a:gd name="T22" fmla="*/ 37 w 57"/>
                <a:gd name="T23" fmla="*/ 25 h 97"/>
                <a:gd name="T24" fmla="*/ 45 w 57"/>
                <a:gd name="T25" fmla="*/ 26 h 97"/>
                <a:gd name="T26" fmla="*/ 45 w 57"/>
                <a:gd name="T27" fmla="*/ 2 h 97"/>
                <a:gd name="T28" fmla="*/ 46 w 57"/>
                <a:gd name="T29" fmla="*/ 1 h 97"/>
                <a:gd name="T30" fmla="*/ 47 w 57"/>
                <a:gd name="T31" fmla="*/ 0 h 97"/>
                <a:gd name="T32" fmla="*/ 54 w 57"/>
                <a:gd name="T33" fmla="*/ 0 h 97"/>
                <a:gd name="T34" fmla="*/ 56 w 57"/>
                <a:gd name="T35" fmla="*/ 1 h 97"/>
                <a:gd name="T36" fmla="*/ 57 w 57"/>
                <a:gd name="T37" fmla="*/ 2 h 97"/>
                <a:gd name="T38" fmla="*/ 57 w 57"/>
                <a:gd name="T39" fmla="*/ 91 h 97"/>
                <a:gd name="T40" fmla="*/ 56 w 57"/>
                <a:gd name="T41" fmla="*/ 93 h 97"/>
                <a:gd name="T42" fmla="*/ 45 w 57"/>
                <a:gd name="T43" fmla="*/ 35 h 97"/>
                <a:gd name="T44" fmla="*/ 37 w 57"/>
                <a:gd name="T45" fmla="*/ 35 h 97"/>
                <a:gd name="T46" fmla="*/ 29 w 57"/>
                <a:gd name="T47" fmla="*/ 35 h 97"/>
                <a:gd name="T48" fmla="*/ 16 w 57"/>
                <a:gd name="T49" fmla="*/ 40 h 97"/>
                <a:gd name="T50" fmla="*/ 12 w 57"/>
                <a:gd name="T51" fmla="*/ 56 h 97"/>
                <a:gd name="T52" fmla="*/ 12 w 57"/>
                <a:gd name="T53" fmla="*/ 65 h 97"/>
                <a:gd name="T54" fmla="*/ 16 w 57"/>
                <a:gd name="T55" fmla="*/ 81 h 97"/>
                <a:gd name="T56" fmla="*/ 29 w 57"/>
                <a:gd name="T57" fmla="*/ 87 h 97"/>
                <a:gd name="T58" fmla="*/ 37 w 57"/>
                <a:gd name="T59" fmla="*/ 86 h 97"/>
                <a:gd name="T60" fmla="*/ 45 w 57"/>
                <a:gd name="T61" fmla="*/ 86 h 97"/>
                <a:gd name="T62" fmla="*/ 45 w 57"/>
                <a:gd name="T63" fmla="*/ 35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57" h="97">
                  <a:moveTo>
                    <a:pt x="56" y="93"/>
                  </a:moveTo>
                  <a:cubicBezTo>
                    <a:pt x="56" y="94"/>
                    <a:pt x="55" y="94"/>
                    <a:pt x="54" y="94"/>
                  </a:cubicBezTo>
                  <a:cubicBezTo>
                    <a:pt x="50" y="95"/>
                    <a:pt x="46" y="96"/>
                    <a:pt x="41" y="96"/>
                  </a:cubicBezTo>
                  <a:cubicBezTo>
                    <a:pt x="37" y="96"/>
                    <a:pt x="33" y="97"/>
                    <a:pt x="29" y="97"/>
                  </a:cubicBezTo>
                  <a:cubicBezTo>
                    <a:pt x="24" y="97"/>
                    <a:pt x="20" y="96"/>
                    <a:pt x="16" y="94"/>
                  </a:cubicBezTo>
                  <a:cubicBezTo>
                    <a:pt x="13" y="93"/>
                    <a:pt x="10" y="91"/>
                    <a:pt x="7" y="88"/>
                  </a:cubicBezTo>
                  <a:cubicBezTo>
                    <a:pt x="5" y="85"/>
                    <a:pt x="3" y="82"/>
                    <a:pt x="2" y="78"/>
                  </a:cubicBezTo>
                  <a:cubicBezTo>
                    <a:pt x="1" y="74"/>
                    <a:pt x="0" y="70"/>
                    <a:pt x="0" y="65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46"/>
                    <a:pt x="3" y="38"/>
                    <a:pt x="7" y="33"/>
                  </a:cubicBezTo>
                  <a:cubicBezTo>
                    <a:pt x="12" y="27"/>
                    <a:pt x="19" y="25"/>
                    <a:pt x="29" y="25"/>
                  </a:cubicBezTo>
                  <a:cubicBezTo>
                    <a:pt x="31" y="25"/>
                    <a:pt x="34" y="25"/>
                    <a:pt x="37" y="25"/>
                  </a:cubicBezTo>
                  <a:cubicBezTo>
                    <a:pt x="40" y="25"/>
                    <a:pt x="42" y="26"/>
                    <a:pt x="45" y="26"/>
                  </a:cubicBezTo>
                  <a:cubicBezTo>
                    <a:pt x="45" y="2"/>
                    <a:pt x="45" y="2"/>
                    <a:pt x="45" y="2"/>
                  </a:cubicBezTo>
                  <a:cubicBezTo>
                    <a:pt x="45" y="2"/>
                    <a:pt x="45" y="1"/>
                    <a:pt x="46" y="1"/>
                  </a:cubicBezTo>
                  <a:cubicBezTo>
                    <a:pt x="46" y="0"/>
                    <a:pt x="47" y="0"/>
                    <a:pt x="47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5" y="0"/>
                    <a:pt x="56" y="0"/>
                    <a:pt x="56" y="1"/>
                  </a:cubicBezTo>
                  <a:cubicBezTo>
                    <a:pt x="56" y="1"/>
                    <a:pt x="57" y="2"/>
                    <a:pt x="57" y="2"/>
                  </a:cubicBezTo>
                  <a:cubicBezTo>
                    <a:pt x="57" y="91"/>
                    <a:pt x="57" y="91"/>
                    <a:pt x="57" y="91"/>
                  </a:cubicBezTo>
                  <a:cubicBezTo>
                    <a:pt x="57" y="92"/>
                    <a:pt x="57" y="93"/>
                    <a:pt x="56" y="93"/>
                  </a:cubicBezTo>
                  <a:close/>
                  <a:moveTo>
                    <a:pt x="45" y="35"/>
                  </a:moveTo>
                  <a:cubicBezTo>
                    <a:pt x="43" y="35"/>
                    <a:pt x="40" y="35"/>
                    <a:pt x="37" y="35"/>
                  </a:cubicBezTo>
                  <a:cubicBezTo>
                    <a:pt x="34" y="35"/>
                    <a:pt x="31" y="35"/>
                    <a:pt x="29" y="35"/>
                  </a:cubicBezTo>
                  <a:cubicBezTo>
                    <a:pt x="23" y="35"/>
                    <a:pt x="18" y="36"/>
                    <a:pt x="16" y="40"/>
                  </a:cubicBezTo>
                  <a:cubicBezTo>
                    <a:pt x="13" y="44"/>
                    <a:pt x="12" y="49"/>
                    <a:pt x="12" y="56"/>
                  </a:cubicBezTo>
                  <a:cubicBezTo>
                    <a:pt x="12" y="65"/>
                    <a:pt x="12" y="65"/>
                    <a:pt x="12" y="65"/>
                  </a:cubicBezTo>
                  <a:cubicBezTo>
                    <a:pt x="12" y="72"/>
                    <a:pt x="13" y="77"/>
                    <a:pt x="16" y="81"/>
                  </a:cubicBezTo>
                  <a:cubicBezTo>
                    <a:pt x="18" y="85"/>
                    <a:pt x="23" y="87"/>
                    <a:pt x="29" y="87"/>
                  </a:cubicBezTo>
                  <a:cubicBezTo>
                    <a:pt x="32" y="87"/>
                    <a:pt x="34" y="87"/>
                    <a:pt x="37" y="86"/>
                  </a:cubicBezTo>
                  <a:cubicBezTo>
                    <a:pt x="40" y="86"/>
                    <a:pt x="43" y="86"/>
                    <a:pt x="45" y="86"/>
                  </a:cubicBezTo>
                  <a:lnTo>
                    <a:pt x="45" y="3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8" name="Freeform 259">
              <a:extLst>
                <a:ext uri="{FF2B5EF4-FFF2-40B4-BE49-F238E27FC236}">
                  <a16:creationId xmlns:a16="http://schemas.microsoft.com/office/drawing/2014/main" id="{CAECD71B-075B-4260-8514-D7E858871AC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46663" y="-2298700"/>
              <a:ext cx="180975" cy="219075"/>
            </a:xfrm>
            <a:custGeom>
              <a:avLst/>
              <a:gdLst>
                <a:gd name="T0" fmla="*/ 57 w 60"/>
                <a:gd name="T1" fmla="*/ 39 h 72"/>
                <a:gd name="T2" fmla="*/ 12 w 60"/>
                <a:gd name="T3" fmla="*/ 39 h 72"/>
                <a:gd name="T4" fmla="*/ 12 w 60"/>
                <a:gd name="T5" fmla="*/ 41 h 72"/>
                <a:gd name="T6" fmla="*/ 17 w 60"/>
                <a:gd name="T7" fmla="*/ 57 h 72"/>
                <a:gd name="T8" fmla="*/ 31 w 60"/>
                <a:gd name="T9" fmla="*/ 62 h 72"/>
                <a:gd name="T10" fmla="*/ 43 w 60"/>
                <a:gd name="T11" fmla="*/ 61 h 72"/>
                <a:gd name="T12" fmla="*/ 55 w 60"/>
                <a:gd name="T13" fmla="*/ 60 h 72"/>
                <a:gd name="T14" fmla="*/ 55 w 60"/>
                <a:gd name="T15" fmla="*/ 60 h 72"/>
                <a:gd name="T16" fmla="*/ 57 w 60"/>
                <a:gd name="T17" fmla="*/ 61 h 72"/>
                <a:gd name="T18" fmla="*/ 57 w 60"/>
                <a:gd name="T19" fmla="*/ 62 h 72"/>
                <a:gd name="T20" fmla="*/ 57 w 60"/>
                <a:gd name="T21" fmla="*/ 66 h 72"/>
                <a:gd name="T22" fmla="*/ 57 w 60"/>
                <a:gd name="T23" fmla="*/ 68 h 72"/>
                <a:gd name="T24" fmla="*/ 55 w 60"/>
                <a:gd name="T25" fmla="*/ 69 h 72"/>
                <a:gd name="T26" fmla="*/ 43 w 60"/>
                <a:gd name="T27" fmla="*/ 71 h 72"/>
                <a:gd name="T28" fmla="*/ 31 w 60"/>
                <a:gd name="T29" fmla="*/ 72 h 72"/>
                <a:gd name="T30" fmla="*/ 20 w 60"/>
                <a:gd name="T31" fmla="*/ 70 h 72"/>
                <a:gd name="T32" fmla="*/ 10 w 60"/>
                <a:gd name="T33" fmla="*/ 65 h 72"/>
                <a:gd name="T34" fmla="*/ 3 w 60"/>
                <a:gd name="T35" fmla="*/ 56 h 72"/>
                <a:gd name="T36" fmla="*/ 0 w 60"/>
                <a:gd name="T37" fmla="*/ 41 h 72"/>
                <a:gd name="T38" fmla="*/ 0 w 60"/>
                <a:gd name="T39" fmla="*/ 29 h 72"/>
                <a:gd name="T40" fmla="*/ 8 w 60"/>
                <a:gd name="T41" fmla="*/ 8 h 72"/>
                <a:gd name="T42" fmla="*/ 30 w 60"/>
                <a:gd name="T43" fmla="*/ 0 h 72"/>
                <a:gd name="T44" fmla="*/ 43 w 60"/>
                <a:gd name="T45" fmla="*/ 2 h 72"/>
                <a:gd name="T46" fmla="*/ 52 w 60"/>
                <a:gd name="T47" fmla="*/ 8 h 72"/>
                <a:gd name="T48" fmla="*/ 58 w 60"/>
                <a:gd name="T49" fmla="*/ 17 h 72"/>
                <a:gd name="T50" fmla="*/ 60 w 60"/>
                <a:gd name="T51" fmla="*/ 29 h 72"/>
                <a:gd name="T52" fmla="*/ 60 w 60"/>
                <a:gd name="T53" fmla="*/ 36 h 72"/>
                <a:gd name="T54" fmla="*/ 57 w 60"/>
                <a:gd name="T55" fmla="*/ 39 h 72"/>
                <a:gd name="T56" fmla="*/ 48 w 60"/>
                <a:gd name="T57" fmla="*/ 29 h 72"/>
                <a:gd name="T58" fmla="*/ 43 w 60"/>
                <a:gd name="T59" fmla="*/ 14 h 72"/>
                <a:gd name="T60" fmla="*/ 30 w 60"/>
                <a:gd name="T61" fmla="*/ 10 h 72"/>
                <a:gd name="T62" fmla="*/ 17 w 60"/>
                <a:gd name="T63" fmla="*/ 14 h 72"/>
                <a:gd name="T64" fmla="*/ 12 w 60"/>
                <a:gd name="T65" fmla="*/ 29 h 72"/>
                <a:gd name="T66" fmla="*/ 12 w 60"/>
                <a:gd name="T67" fmla="*/ 31 h 72"/>
                <a:gd name="T68" fmla="*/ 48 w 60"/>
                <a:gd name="T69" fmla="*/ 31 h 72"/>
                <a:gd name="T70" fmla="*/ 48 w 60"/>
                <a:gd name="T71" fmla="*/ 29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60" h="72">
                  <a:moveTo>
                    <a:pt x="57" y="39"/>
                  </a:moveTo>
                  <a:cubicBezTo>
                    <a:pt x="12" y="39"/>
                    <a:pt x="12" y="39"/>
                    <a:pt x="12" y="39"/>
                  </a:cubicBezTo>
                  <a:cubicBezTo>
                    <a:pt x="12" y="41"/>
                    <a:pt x="12" y="41"/>
                    <a:pt x="12" y="41"/>
                  </a:cubicBezTo>
                  <a:cubicBezTo>
                    <a:pt x="12" y="49"/>
                    <a:pt x="14" y="54"/>
                    <a:pt x="17" y="57"/>
                  </a:cubicBezTo>
                  <a:cubicBezTo>
                    <a:pt x="20" y="60"/>
                    <a:pt x="25" y="62"/>
                    <a:pt x="31" y="62"/>
                  </a:cubicBezTo>
                  <a:cubicBezTo>
                    <a:pt x="35" y="62"/>
                    <a:pt x="39" y="62"/>
                    <a:pt x="43" y="61"/>
                  </a:cubicBezTo>
                  <a:cubicBezTo>
                    <a:pt x="48" y="61"/>
                    <a:pt x="51" y="61"/>
                    <a:pt x="55" y="60"/>
                  </a:cubicBezTo>
                  <a:cubicBezTo>
                    <a:pt x="55" y="60"/>
                    <a:pt x="55" y="60"/>
                    <a:pt x="55" y="60"/>
                  </a:cubicBezTo>
                  <a:cubicBezTo>
                    <a:pt x="56" y="60"/>
                    <a:pt x="56" y="60"/>
                    <a:pt x="57" y="61"/>
                  </a:cubicBezTo>
                  <a:cubicBezTo>
                    <a:pt x="57" y="61"/>
                    <a:pt x="57" y="61"/>
                    <a:pt x="57" y="62"/>
                  </a:cubicBezTo>
                  <a:cubicBezTo>
                    <a:pt x="57" y="66"/>
                    <a:pt x="57" y="66"/>
                    <a:pt x="57" y="66"/>
                  </a:cubicBezTo>
                  <a:cubicBezTo>
                    <a:pt x="57" y="67"/>
                    <a:pt x="57" y="68"/>
                    <a:pt x="57" y="68"/>
                  </a:cubicBezTo>
                  <a:cubicBezTo>
                    <a:pt x="56" y="69"/>
                    <a:pt x="56" y="69"/>
                    <a:pt x="55" y="69"/>
                  </a:cubicBezTo>
                  <a:cubicBezTo>
                    <a:pt x="51" y="70"/>
                    <a:pt x="47" y="71"/>
                    <a:pt x="43" y="71"/>
                  </a:cubicBezTo>
                  <a:cubicBezTo>
                    <a:pt x="39" y="71"/>
                    <a:pt x="35" y="72"/>
                    <a:pt x="31" y="72"/>
                  </a:cubicBezTo>
                  <a:cubicBezTo>
                    <a:pt x="27" y="72"/>
                    <a:pt x="23" y="71"/>
                    <a:pt x="20" y="70"/>
                  </a:cubicBezTo>
                  <a:cubicBezTo>
                    <a:pt x="16" y="69"/>
                    <a:pt x="13" y="67"/>
                    <a:pt x="10" y="65"/>
                  </a:cubicBezTo>
                  <a:cubicBezTo>
                    <a:pt x="7" y="63"/>
                    <a:pt x="5" y="60"/>
                    <a:pt x="3" y="56"/>
                  </a:cubicBezTo>
                  <a:cubicBezTo>
                    <a:pt x="1" y="52"/>
                    <a:pt x="0" y="47"/>
                    <a:pt x="0" y="41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20"/>
                    <a:pt x="3" y="13"/>
                    <a:pt x="8" y="8"/>
                  </a:cubicBezTo>
                  <a:cubicBezTo>
                    <a:pt x="13" y="2"/>
                    <a:pt x="20" y="0"/>
                    <a:pt x="30" y="0"/>
                  </a:cubicBezTo>
                  <a:cubicBezTo>
                    <a:pt x="35" y="0"/>
                    <a:pt x="39" y="0"/>
                    <a:pt x="43" y="2"/>
                  </a:cubicBezTo>
                  <a:cubicBezTo>
                    <a:pt x="47" y="3"/>
                    <a:pt x="50" y="5"/>
                    <a:pt x="52" y="8"/>
                  </a:cubicBezTo>
                  <a:cubicBezTo>
                    <a:pt x="55" y="10"/>
                    <a:pt x="56" y="14"/>
                    <a:pt x="58" y="17"/>
                  </a:cubicBezTo>
                  <a:cubicBezTo>
                    <a:pt x="59" y="21"/>
                    <a:pt x="60" y="25"/>
                    <a:pt x="60" y="29"/>
                  </a:cubicBezTo>
                  <a:cubicBezTo>
                    <a:pt x="60" y="36"/>
                    <a:pt x="60" y="36"/>
                    <a:pt x="60" y="36"/>
                  </a:cubicBezTo>
                  <a:cubicBezTo>
                    <a:pt x="60" y="38"/>
                    <a:pt x="59" y="39"/>
                    <a:pt x="57" y="39"/>
                  </a:cubicBezTo>
                  <a:close/>
                  <a:moveTo>
                    <a:pt x="48" y="29"/>
                  </a:moveTo>
                  <a:cubicBezTo>
                    <a:pt x="48" y="22"/>
                    <a:pt x="46" y="17"/>
                    <a:pt x="43" y="14"/>
                  </a:cubicBezTo>
                  <a:cubicBezTo>
                    <a:pt x="40" y="11"/>
                    <a:pt x="36" y="10"/>
                    <a:pt x="30" y="10"/>
                  </a:cubicBezTo>
                  <a:cubicBezTo>
                    <a:pt x="24" y="10"/>
                    <a:pt x="20" y="11"/>
                    <a:pt x="17" y="14"/>
                  </a:cubicBezTo>
                  <a:cubicBezTo>
                    <a:pt x="14" y="18"/>
                    <a:pt x="12" y="23"/>
                    <a:pt x="12" y="29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48" y="31"/>
                    <a:pt x="48" y="31"/>
                    <a:pt x="48" y="31"/>
                  </a:cubicBezTo>
                  <a:lnTo>
                    <a:pt x="48" y="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9" name="Freeform 260">
              <a:extLst>
                <a:ext uri="{FF2B5EF4-FFF2-40B4-BE49-F238E27FC236}">
                  <a16:creationId xmlns:a16="http://schemas.microsoft.com/office/drawing/2014/main" id="{57AD8954-8543-4956-A614-5669BF8231E2}"/>
                </a:ext>
              </a:extLst>
            </p:cNvPr>
            <p:cNvSpPr>
              <a:spLocks/>
            </p:cNvSpPr>
            <p:nvPr/>
          </p:nvSpPr>
          <p:spPr bwMode="auto">
            <a:xfrm>
              <a:off x="5265738" y="-2298700"/>
              <a:ext cx="147637" cy="219075"/>
            </a:xfrm>
            <a:custGeom>
              <a:avLst/>
              <a:gdLst>
                <a:gd name="T0" fmla="*/ 49 w 49"/>
                <a:gd name="T1" fmla="*/ 53 h 72"/>
                <a:gd name="T2" fmla="*/ 42 w 49"/>
                <a:gd name="T3" fmla="*/ 67 h 72"/>
                <a:gd name="T4" fmla="*/ 24 w 49"/>
                <a:gd name="T5" fmla="*/ 72 h 72"/>
                <a:gd name="T6" fmla="*/ 20 w 49"/>
                <a:gd name="T7" fmla="*/ 71 h 72"/>
                <a:gd name="T8" fmla="*/ 14 w 49"/>
                <a:gd name="T9" fmla="*/ 71 h 72"/>
                <a:gd name="T10" fmla="*/ 8 w 49"/>
                <a:gd name="T11" fmla="*/ 70 h 72"/>
                <a:gd name="T12" fmla="*/ 3 w 49"/>
                <a:gd name="T13" fmla="*/ 70 h 72"/>
                <a:gd name="T14" fmla="*/ 0 w 49"/>
                <a:gd name="T15" fmla="*/ 67 h 72"/>
                <a:gd name="T16" fmla="*/ 0 w 49"/>
                <a:gd name="T17" fmla="*/ 63 h 72"/>
                <a:gd name="T18" fmla="*/ 1 w 49"/>
                <a:gd name="T19" fmla="*/ 61 h 72"/>
                <a:gd name="T20" fmla="*/ 3 w 49"/>
                <a:gd name="T21" fmla="*/ 61 h 72"/>
                <a:gd name="T22" fmla="*/ 3 w 49"/>
                <a:gd name="T23" fmla="*/ 61 h 72"/>
                <a:gd name="T24" fmla="*/ 8 w 49"/>
                <a:gd name="T25" fmla="*/ 61 h 72"/>
                <a:gd name="T26" fmla="*/ 14 w 49"/>
                <a:gd name="T27" fmla="*/ 62 h 72"/>
                <a:gd name="T28" fmla="*/ 20 w 49"/>
                <a:gd name="T29" fmla="*/ 62 h 72"/>
                <a:gd name="T30" fmla="*/ 24 w 49"/>
                <a:gd name="T31" fmla="*/ 62 h 72"/>
                <a:gd name="T32" fmla="*/ 34 w 49"/>
                <a:gd name="T33" fmla="*/ 60 h 72"/>
                <a:gd name="T34" fmla="*/ 37 w 49"/>
                <a:gd name="T35" fmla="*/ 53 h 72"/>
                <a:gd name="T36" fmla="*/ 35 w 49"/>
                <a:gd name="T37" fmla="*/ 48 h 72"/>
                <a:gd name="T38" fmla="*/ 27 w 49"/>
                <a:gd name="T39" fmla="*/ 42 h 72"/>
                <a:gd name="T40" fmla="*/ 14 w 49"/>
                <a:gd name="T41" fmla="*/ 35 h 72"/>
                <a:gd name="T42" fmla="*/ 4 w 49"/>
                <a:gd name="T43" fmla="*/ 27 h 72"/>
                <a:gd name="T44" fmla="*/ 0 w 49"/>
                <a:gd name="T45" fmla="*/ 17 h 72"/>
                <a:gd name="T46" fmla="*/ 2 w 49"/>
                <a:gd name="T47" fmla="*/ 8 h 72"/>
                <a:gd name="T48" fmla="*/ 7 w 49"/>
                <a:gd name="T49" fmla="*/ 3 h 72"/>
                <a:gd name="T50" fmla="*/ 15 w 49"/>
                <a:gd name="T51" fmla="*/ 0 h 72"/>
                <a:gd name="T52" fmla="*/ 24 w 49"/>
                <a:gd name="T53" fmla="*/ 0 h 72"/>
                <a:gd name="T54" fmla="*/ 35 w 49"/>
                <a:gd name="T55" fmla="*/ 0 h 72"/>
                <a:gd name="T56" fmla="*/ 45 w 49"/>
                <a:gd name="T57" fmla="*/ 1 h 72"/>
                <a:gd name="T58" fmla="*/ 48 w 49"/>
                <a:gd name="T59" fmla="*/ 4 h 72"/>
                <a:gd name="T60" fmla="*/ 48 w 49"/>
                <a:gd name="T61" fmla="*/ 8 h 72"/>
                <a:gd name="T62" fmla="*/ 45 w 49"/>
                <a:gd name="T63" fmla="*/ 10 h 72"/>
                <a:gd name="T64" fmla="*/ 45 w 49"/>
                <a:gd name="T65" fmla="*/ 10 h 72"/>
                <a:gd name="T66" fmla="*/ 36 w 49"/>
                <a:gd name="T67" fmla="*/ 10 h 72"/>
                <a:gd name="T68" fmla="*/ 24 w 49"/>
                <a:gd name="T69" fmla="*/ 9 h 72"/>
                <a:gd name="T70" fmla="*/ 15 w 49"/>
                <a:gd name="T71" fmla="*/ 11 h 72"/>
                <a:gd name="T72" fmla="*/ 12 w 49"/>
                <a:gd name="T73" fmla="*/ 17 h 72"/>
                <a:gd name="T74" fmla="*/ 14 w 49"/>
                <a:gd name="T75" fmla="*/ 22 h 72"/>
                <a:gd name="T76" fmla="*/ 21 w 49"/>
                <a:gd name="T77" fmla="*/ 26 h 72"/>
                <a:gd name="T78" fmla="*/ 34 w 49"/>
                <a:gd name="T79" fmla="*/ 34 h 72"/>
                <a:gd name="T80" fmla="*/ 46 w 49"/>
                <a:gd name="T81" fmla="*/ 43 h 72"/>
                <a:gd name="T82" fmla="*/ 49 w 49"/>
                <a:gd name="T83" fmla="*/ 53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9" h="72">
                  <a:moveTo>
                    <a:pt x="49" y="53"/>
                  </a:moveTo>
                  <a:cubicBezTo>
                    <a:pt x="49" y="59"/>
                    <a:pt x="47" y="64"/>
                    <a:pt x="42" y="67"/>
                  </a:cubicBezTo>
                  <a:cubicBezTo>
                    <a:pt x="38" y="70"/>
                    <a:pt x="32" y="72"/>
                    <a:pt x="24" y="72"/>
                  </a:cubicBezTo>
                  <a:cubicBezTo>
                    <a:pt x="23" y="72"/>
                    <a:pt x="21" y="71"/>
                    <a:pt x="20" y="71"/>
                  </a:cubicBezTo>
                  <a:cubicBezTo>
                    <a:pt x="18" y="71"/>
                    <a:pt x="16" y="71"/>
                    <a:pt x="14" y="71"/>
                  </a:cubicBezTo>
                  <a:cubicBezTo>
                    <a:pt x="12" y="71"/>
                    <a:pt x="10" y="71"/>
                    <a:pt x="8" y="70"/>
                  </a:cubicBezTo>
                  <a:cubicBezTo>
                    <a:pt x="6" y="70"/>
                    <a:pt x="5" y="70"/>
                    <a:pt x="3" y="70"/>
                  </a:cubicBezTo>
                  <a:cubicBezTo>
                    <a:pt x="1" y="69"/>
                    <a:pt x="0" y="68"/>
                    <a:pt x="0" y="67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0" y="62"/>
                    <a:pt x="0" y="62"/>
                    <a:pt x="1" y="61"/>
                  </a:cubicBezTo>
                  <a:cubicBezTo>
                    <a:pt x="1" y="61"/>
                    <a:pt x="2" y="61"/>
                    <a:pt x="3" y="61"/>
                  </a:cubicBezTo>
                  <a:cubicBezTo>
                    <a:pt x="3" y="61"/>
                    <a:pt x="3" y="61"/>
                    <a:pt x="3" y="61"/>
                  </a:cubicBezTo>
                  <a:cubicBezTo>
                    <a:pt x="5" y="61"/>
                    <a:pt x="6" y="61"/>
                    <a:pt x="8" y="61"/>
                  </a:cubicBezTo>
                  <a:cubicBezTo>
                    <a:pt x="10" y="61"/>
                    <a:pt x="12" y="62"/>
                    <a:pt x="14" y="62"/>
                  </a:cubicBezTo>
                  <a:cubicBezTo>
                    <a:pt x="16" y="62"/>
                    <a:pt x="18" y="62"/>
                    <a:pt x="20" y="62"/>
                  </a:cubicBezTo>
                  <a:cubicBezTo>
                    <a:pt x="21" y="62"/>
                    <a:pt x="23" y="62"/>
                    <a:pt x="24" y="62"/>
                  </a:cubicBezTo>
                  <a:cubicBezTo>
                    <a:pt x="28" y="62"/>
                    <a:pt x="32" y="61"/>
                    <a:pt x="34" y="60"/>
                  </a:cubicBezTo>
                  <a:cubicBezTo>
                    <a:pt x="36" y="59"/>
                    <a:pt x="37" y="57"/>
                    <a:pt x="37" y="53"/>
                  </a:cubicBezTo>
                  <a:cubicBezTo>
                    <a:pt x="37" y="51"/>
                    <a:pt x="37" y="49"/>
                    <a:pt x="35" y="48"/>
                  </a:cubicBezTo>
                  <a:cubicBezTo>
                    <a:pt x="34" y="47"/>
                    <a:pt x="31" y="45"/>
                    <a:pt x="27" y="42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0" y="32"/>
                    <a:pt x="6" y="30"/>
                    <a:pt x="4" y="27"/>
                  </a:cubicBezTo>
                  <a:cubicBezTo>
                    <a:pt x="1" y="24"/>
                    <a:pt x="0" y="21"/>
                    <a:pt x="0" y="17"/>
                  </a:cubicBezTo>
                  <a:cubicBezTo>
                    <a:pt x="0" y="13"/>
                    <a:pt x="1" y="11"/>
                    <a:pt x="2" y="8"/>
                  </a:cubicBezTo>
                  <a:cubicBezTo>
                    <a:pt x="3" y="6"/>
                    <a:pt x="5" y="5"/>
                    <a:pt x="7" y="3"/>
                  </a:cubicBezTo>
                  <a:cubicBezTo>
                    <a:pt x="9" y="2"/>
                    <a:pt x="12" y="1"/>
                    <a:pt x="15" y="0"/>
                  </a:cubicBezTo>
                  <a:cubicBezTo>
                    <a:pt x="18" y="0"/>
                    <a:pt x="21" y="0"/>
                    <a:pt x="24" y="0"/>
                  </a:cubicBezTo>
                  <a:cubicBezTo>
                    <a:pt x="28" y="0"/>
                    <a:pt x="32" y="0"/>
                    <a:pt x="35" y="0"/>
                  </a:cubicBezTo>
                  <a:cubicBezTo>
                    <a:pt x="39" y="0"/>
                    <a:pt x="42" y="1"/>
                    <a:pt x="45" y="1"/>
                  </a:cubicBezTo>
                  <a:cubicBezTo>
                    <a:pt x="47" y="2"/>
                    <a:pt x="48" y="2"/>
                    <a:pt x="48" y="4"/>
                  </a:cubicBezTo>
                  <a:cubicBezTo>
                    <a:pt x="48" y="8"/>
                    <a:pt x="48" y="8"/>
                    <a:pt x="48" y="8"/>
                  </a:cubicBezTo>
                  <a:cubicBezTo>
                    <a:pt x="48" y="10"/>
                    <a:pt x="47" y="10"/>
                    <a:pt x="45" y="10"/>
                  </a:cubicBezTo>
                  <a:cubicBezTo>
                    <a:pt x="45" y="10"/>
                    <a:pt x="45" y="10"/>
                    <a:pt x="45" y="10"/>
                  </a:cubicBezTo>
                  <a:cubicBezTo>
                    <a:pt x="43" y="10"/>
                    <a:pt x="40" y="10"/>
                    <a:pt x="36" y="10"/>
                  </a:cubicBezTo>
                  <a:cubicBezTo>
                    <a:pt x="32" y="9"/>
                    <a:pt x="28" y="9"/>
                    <a:pt x="24" y="9"/>
                  </a:cubicBezTo>
                  <a:cubicBezTo>
                    <a:pt x="21" y="9"/>
                    <a:pt x="18" y="10"/>
                    <a:pt x="15" y="11"/>
                  </a:cubicBezTo>
                  <a:cubicBezTo>
                    <a:pt x="13" y="11"/>
                    <a:pt x="12" y="13"/>
                    <a:pt x="12" y="17"/>
                  </a:cubicBezTo>
                  <a:cubicBezTo>
                    <a:pt x="12" y="19"/>
                    <a:pt x="13" y="20"/>
                    <a:pt x="14" y="22"/>
                  </a:cubicBezTo>
                  <a:cubicBezTo>
                    <a:pt x="16" y="23"/>
                    <a:pt x="18" y="25"/>
                    <a:pt x="21" y="26"/>
                  </a:cubicBezTo>
                  <a:cubicBezTo>
                    <a:pt x="34" y="34"/>
                    <a:pt x="34" y="34"/>
                    <a:pt x="34" y="34"/>
                  </a:cubicBezTo>
                  <a:cubicBezTo>
                    <a:pt x="40" y="37"/>
                    <a:pt x="44" y="40"/>
                    <a:pt x="46" y="43"/>
                  </a:cubicBezTo>
                  <a:cubicBezTo>
                    <a:pt x="48" y="46"/>
                    <a:pt x="49" y="49"/>
                    <a:pt x="49" y="5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0" name="Rectangle 261">
              <a:extLst>
                <a:ext uri="{FF2B5EF4-FFF2-40B4-BE49-F238E27FC236}">
                  <a16:creationId xmlns:a16="http://schemas.microsoft.com/office/drawing/2014/main" id="{F9B089D1-FDAF-4A0F-BD3D-664DD198D21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10075" y="-2116138"/>
              <a:ext cx="165100" cy="333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1" name="Freeform 262">
              <a:extLst>
                <a:ext uri="{FF2B5EF4-FFF2-40B4-BE49-F238E27FC236}">
                  <a16:creationId xmlns:a16="http://schemas.microsoft.com/office/drawing/2014/main" id="{75596C62-BF8E-4158-84B8-949CCA5F54D5}"/>
                </a:ext>
              </a:extLst>
            </p:cNvPr>
            <p:cNvSpPr>
              <a:spLocks/>
            </p:cNvSpPr>
            <p:nvPr/>
          </p:nvSpPr>
          <p:spPr bwMode="auto">
            <a:xfrm>
              <a:off x="4419600" y="-2374900"/>
              <a:ext cx="168275" cy="292100"/>
            </a:xfrm>
            <a:custGeom>
              <a:avLst/>
              <a:gdLst>
                <a:gd name="T0" fmla="*/ 7 w 56"/>
                <a:gd name="T1" fmla="*/ 5 h 96"/>
                <a:gd name="T2" fmla="*/ 30 w 56"/>
                <a:gd name="T3" fmla="*/ 0 h 96"/>
                <a:gd name="T4" fmla="*/ 41 w 56"/>
                <a:gd name="T5" fmla="*/ 0 h 96"/>
                <a:gd name="T6" fmla="*/ 52 w 56"/>
                <a:gd name="T7" fmla="*/ 2 h 96"/>
                <a:gd name="T8" fmla="*/ 54 w 56"/>
                <a:gd name="T9" fmla="*/ 3 h 96"/>
                <a:gd name="T10" fmla="*/ 54 w 56"/>
                <a:gd name="T11" fmla="*/ 5 h 96"/>
                <a:gd name="T12" fmla="*/ 54 w 56"/>
                <a:gd name="T13" fmla="*/ 9 h 96"/>
                <a:gd name="T14" fmla="*/ 52 w 56"/>
                <a:gd name="T15" fmla="*/ 12 h 96"/>
                <a:gd name="T16" fmla="*/ 52 w 56"/>
                <a:gd name="T17" fmla="*/ 12 h 96"/>
                <a:gd name="T18" fmla="*/ 41 w 56"/>
                <a:gd name="T19" fmla="*/ 10 h 96"/>
                <a:gd name="T20" fmla="*/ 30 w 56"/>
                <a:gd name="T21" fmla="*/ 10 h 96"/>
                <a:gd name="T22" fmla="*/ 15 w 56"/>
                <a:gd name="T23" fmla="*/ 13 h 96"/>
                <a:gd name="T24" fmla="*/ 11 w 56"/>
                <a:gd name="T25" fmla="*/ 23 h 96"/>
                <a:gd name="T26" fmla="*/ 11 w 56"/>
                <a:gd name="T27" fmla="*/ 28 h 96"/>
                <a:gd name="T28" fmla="*/ 13 w 56"/>
                <a:gd name="T29" fmla="*/ 32 h 96"/>
                <a:gd name="T30" fmla="*/ 17 w 56"/>
                <a:gd name="T31" fmla="*/ 36 h 96"/>
                <a:gd name="T32" fmla="*/ 24 w 56"/>
                <a:gd name="T33" fmla="*/ 41 h 96"/>
                <a:gd name="T34" fmla="*/ 36 w 56"/>
                <a:gd name="T35" fmla="*/ 49 h 96"/>
                <a:gd name="T36" fmla="*/ 51 w 56"/>
                <a:gd name="T37" fmla="*/ 65 h 96"/>
                <a:gd name="T38" fmla="*/ 56 w 56"/>
                <a:gd name="T39" fmla="*/ 83 h 96"/>
                <a:gd name="T40" fmla="*/ 56 w 56"/>
                <a:gd name="T41" fmla="*/ 93 h 96"/>
                <a:gd name="T42" fmla="*/ 55 w 56"/>
                <a:gd name="T43" fmla="*/ 95 h 96"/>
                <a:gd name="T44" fmla="*/ 53 w 56"/>
                <a:gd name="T45" fmla="*/ 96 h 96"/>
                <a:gd name="T46" fmla="*/ 3 w 56"/>
                <a:gd name="T47" fmla="*/ 96 h 96"/>
                <a:gd name="T48" fmla="*/ 2 w 56"/>
                <a:gd name="T49" fmla="*/ 95 h 96"/>
                <a:gd name="T50" fmla="*/ 1 w 56"/>
                <a:gd name="T51" fmla="*/ 93 h 96"/>
                <a:gd name="T52" fmla="*/ 1 w 56"/>
                <a:gd name="T53" fmla="*/ 88 h 96"/>
                <a:gd name="T54" fmla="*/ 2 w 56"/>
                <a:gd name="T55" fmla="*/ 86 h 96"/>
                <a:gd name="T56" fmla="*/ 3 w 56"/>
                <a:gd name="T57" fmla="*/ 85 h 96"/>
                <a:gd name="T58" fmla="*/ 46 w 56"/>
                <a:gd name="T59" fmla="*/ 85 h 96"/>
                <a:gd name="T60" fmla="*/ 46 w 56"/>
                <a:gd name="T61" fmla="*/ 83 h 96"/>
                <a:gd name="T62" fmla="*/ 45 w 56"/>
                <a:gd name="T63" fmla="*/ 75 h 96"/>
                <a:gd name="T64" fmla="*/ 42 w 56"/>
                <a:gd name="T65" fmla="*/ 69 h 96"/>
                <a:gd name="T66" fmla="*/ 37 w 56"/>
                <a:gd name="T67" fmla="*/ 62 h 96"/>
                <a:gd name="T68" fmla="*/ 28 w 56"/>
                <a:gd name="T69" fmla="*/ 56 h 96"/>
                <a:gd name="T70" fmla="*/ 16 w 56"/>
                <a:gd name="T71" fmla="*/ 47 h 96"/>
                <a:gd name="T72" fmla="*/ 3 w 56"/>
                <a:gd name="T73" fmla="*/ 36 h 96"/>
                <a:gd name="T74" fmla="*/ 0 w 56"/>
                <a:gd name="T75" fmla="*/ 23 h 96"/>
                <a:gd name="T76" fmla="*/ 7 w 56"/>
                <a:gd name="T77" fmla="*/ 5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56" h="96">
                  <a:moveTo>
                    <a:pt x="7" y="5"/>
                  </a:moveTo>
                  <a:cubicBezTo>
                    <a:pt x="12" y="2"/>
                    <a:pt x="19" y="0"/>
                    <a:pt x="30" y="0"/>
                  </a:cubicBezTo>
                  <a:cubicBezTo>
                    <a:pt x="33" y="0"/>
                    <a:pt x="37" y="0"/>
                    <a:pt x="41" y="0"/>
                  </a:cubicBezTo>
                  <a:cubicBezTo>
                    <a:pt x="45" y="1"/>
                    <a:pt x="49" y="1"/>
                    <a:pt x="52" y="2"/>
                  </a:cubicBezTo>
                  <a:cubicBezTo>
                    <a:pt x="53" y="3"/>
                    <a:pt x="53" y="3"/>
                    <a:pt x="54" y="3"/>
                  </a:cubicBezTo>
                  <a:cubicBezTo>
                    <a:pt x="54" y="3"/>
                    <a:pt x="54" y="4"/>
                    <a:pt x="54" y="5"/>
                  </a:cubicBezTo>
                  <a:cubicBezTo>
                    <a:pt x="54" y="9"/>
                    <a:pt x="54" y="9"/>
                    <a:pt x="54" y="9"/>
                  </a:cubicBezTo>
                  <a:cubicBezTo>
                    <a:pt x="54" y="11"/>
                    <a:pt x="54" y="12"/>
                    <a:pt x="52" y="12"/>
                  </a:cubicBezTo>
                  <a:cubicBezTo>
                    <a:pt x="52" y="12"/>
                    <a:pt x="52" y="12"/>
                    <a:pt x="52" y="12"/>
                  </a:cubicBezTo>
                  <a:cubicBezTo>
                    <a:pt x="48" y="11"/>
                    <a:pt x="45" y="11"/>
                    <a:pt x="41" y="10"/>
                  </a:cubicBezTo>
                  <a:cubicBezTo>
                    <a:pt x="37" y="10"/>
                    <a:pt x="33" y="10"/>
                    <a:pt x="30" y="10"/>
                  </a:cubicBezTo>
                  <a:cubicBezTo>
                    <a:pt x="23" y="10"/>
                    <a:pt x="18" y="11"/>
                    <a:pt x="15" y="13"/>
                  </a:cubicBezTo>
                  <a:cubicBezTo>
                    <a:pt x="12" y="15"/>
                    <a:pt x="11" y="18"/>
                    <a:pt x="11" y="23"/>
                  </a:cubicBezTo>
                  <a:cubicBezTo>
                    <a:pt x="11" y="25"/>
                    <a:pt x="11" y="26"/>
                    <a:pt x="11" y="28"/>
                  </a:cubicBezTo>
                  <a:cubicBezTo>
                    <a:pt x="12" y="29"/>
                    <a:pt x="12" y="31"/>
                    <a:pt x="13" y="32"/>
                  </a:cubicBezTo>
                  <a:cubicBezTo>
                    <a:pt x="14" y="33"/>
                    <a:pt x="16" y="35"/>
                    <a:pt x="17" y="36"/>
                  </a:cubicBezTo>
                  <a:cubicBezTo>
                    <a:pt x="19" y="37"/>
                    <a:pt x="21" y="39"/>
                    <a:pt x="24" y="41"/>
                  </a:cubicBezTo>
                  <a:cubicBezTo>
                    <a:pt x="36" y="49"/>
                    <a:pt x="36" y="49"/>
                    <a:pt x="36" y="49"/>
                  </a:cubicBezTo>
                  <a:cubicBezTo>
                    <a:pt x="43" y="54"/>
                    <a:pt x="48" y="59"/>
                    <a:pt x="51" y="65"/>
                  </a:cubicBezTo>
                  <a:cubicBezTo>
                    <a:pt x="54" y="70"/>
                    <a:pt x="56" y="76"/>
                    <a:pt x="56" y="83"/>
                  </a:cubicBezTo>
                  <a:cubicBezTo>
                    <a:pt x="56" y="93"/>
                    <a:pt x="56" y="93"/>
                    <a:pt x="56" y="93"/>
                  </a:cubicBezTo>
                  <a:cubicBezTo>
                    <a:pt x="56" y="94"/>
                    <a:pt x="56" y="94"/>
                    <a:pt x="55" y="95"/>
                  </a:cubicBezTo>
                  <a:cubicBezTo>
                    <a:pt x="55" y="95"/>
                    <a:pt x="54" y="96"/>
                    <a:pt x="53" y="96"/>
                  </a:cubicBezTo>
                  <a:cubicBezTo>
                    <a:pt x="3" y="96"/>
                    <a:pt x="3" y="96"/>
                    <a:pt x="3" y="96"/>
                  </a:cubicBezTo>
                  <a:cubicBezTo>
                    <a:pt x="3" y="96"/>
                    <a:pt x="2" y="95"/>
                    <a:pt x="2" y="95"/>
                  </a:cubicBezTo>
                  <a:cubicBezTo>
                    <a:pt x="1" y="94"/>
                    <a:pt x="1" y="94"/>
                    <a:pt x="1" y="93"/>
                  </a:cubicBezTo>
                  <a:cubicBezTo>
                    <a:pt x="1" y="88"/>
                    <a:pt x="1" y="88"/>
                    <a:pt x="1" y="88"/>
                  </a:cubicBezTo>
                  <a:cubicBezTo>
                    <a:pt x="1" y="87"/>
                    <a:pt x="1" y="86"/>
                    <a:pt x="2" y="86"/>
                  </a:cubicBezTo>
                  <a:cubicBezTo>
                    <a:pt x="2" y="86"/>
                    <a:pt x="3" y="85"/>
                    <a:pt x="3" y="85"/>
                  </a:cubicBezTo>
                  <a:cubicBezTo>
                    <a:pt x="46" y="85"/>
                    <a:pt x="46" y="85"/>
                    <a:pt x="46" y="85"/>
                  </a:cubicBezTo>
                  <a:cubicBezTo>
                    <a:pt x="46" y="83"/>
                    <a:pt x="46" y="83"/>
                    <a:pt x="46" y="83"/>
                  </a:cubicBezTo>
                  <a:cubicBezTo>
                    <a:pt x="46" y="80"/>
                    <a:pt x="46" y="77"/>
                    <a:pt x="45" y="75"/>
                  </a:cubicBezTo>
                  <a:cubicBezTo>
                    <a:pt x="44" y="73"/>
                    <a:pt x="44" y="71"/>
                    <a:pt x="42" y="69"/>
                  </a:cubicBezTo>
                  <a:cubicBezTo>
                    <a:pt x="41" y="66"/>
                    <a:pt x="39" y="64"/>
                    <a:pt x="37" y="62"/>
                  </a:cubicBezTo>
                  <a:cubicBezTo>
                    <a:pt x="35" y="60"/>
                    <a:pt x="32" y="58"/>
                    <a:pt x="28" y="56"/>
                  </a:cubicBezTo>
                  <a:cubicBezTo>
                    <a:pt x="16" y="47"/>
                    <a:pt x="16" y="47"/>
                    <a:pt x="16" y="47"/>
                  </a:cubicBezTo>
                  <a:cubicBezTo>
                    <a:pt x="10" y="43"/>
                    <a:pt x="6" y="39"/>
                    <a:pt x="3" y="36"/>
                  </a:cubicBezTo>
                  <a:cubicBezTo>
                    <a:pt x="1" y="32"/>
                    <a:pt x="0" y="28"/>
                    <a:pt x="0" y="23"/>
                  </a:cubicBezTo>
                  <a:cubicBezTo>
                    <a:pt x="0" y="15"/>
                    <a:pt x="2" y="9"/>
                    <a:pt x="7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7" name="Rectangle 6">
            <a:extLst>
              <a:ext uri="{FF2B5EF4-FFF2-40B4-BE49-F238E27FC236}">
                <a16:creationId xmlns:a16="http://schemas.microsoft.com/office/drawing/2014/main" id="{7235DBE7-9C8E-4A39-B93C-90B4970974DE}"/>
              </a:ext>
            </a:extLst>
          </p:cNvPr>
          <p:cNvSpPr/>
          <p:nvPr/>
        </p:nvSpPr>
        <p:spPr>
          <a:xfrm>
            <a:off x="7064944" y="4424135"/>
            <a:ext cx="4811058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Open Sans Light"/>
                <a:cs typeface="Segoe UI" panose="020B0502040204020203" pitchFamily="34" charset="0"/>
                <a:sym typeface="Open Sans Light"/>
              </a:rPr>
              <a:t>Go to 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Open Sans Light"/>
                <a:cs typeface="Segoe UI" panose="020B0502040204020203" pitchFamily="34" charset="0"/>
                <a:sym typeface="Open Sans Light"/>
              </a:rPr>
              <a:t>24Slides.com/</a:t>
            </a:r>
            <a:r>
              <a:rPr kumimoji="0" lang="id-ID" sz="1800" b="1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Open Sans Light"/>
                <a:cs typeface="Segoe UI" panose="020B0502040204020203" pitchFamily="34" charset="0"/>
                <a:sym typeface="Open Sans Light"/>
              </a:rPr>
              <a:t>order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Open Sans Light"/>
                <a:cs typeface="Segoe UI" panose="020B0502040204020203" pitchFamily="34" charset="0"/>
                <a:sym typeface="Open Sans Light"/>
              </a:rPr>
              <a:t>to find out more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83D65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8064810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9" name="Group 178">
            <a:extLst>
              <a:ext uri="{FF2B5EF4-FFF2-40B4-BE49-F238E27FC236}">
                <a16:creationId xmlns:a16="http://schemas.microsoft.com/office/drawing/2014/main" id="{32BD925E-0CE8-4479-AE6E-09E372CA2F19}"/>
              </a:ext>
            </a:extLst>
          </p:cNvPr>
          <p:cNvGrpSpPr/>
          <p:nvPr/>
        </p:nvGrpSpPr>
        <p:grpSpPr>
          <a:xfrm>
            <a:off x="1938308" y="4774358"/>
            <a:ext cx="8315383" cy="908475"/>
            <a:chOff x="1715637" y="4908708"/>
            <a:chExt cx="8315383" cy="908475"/>
          </a:xfrm>
        </p:grpSpPr>
        <p:grpSp>
          <p:nvGrpSpPr>
            <p:cNvPr id="178" name="Group 177">
              <a:extLst>
                <a:ext uri="{FF2B5EF4-FFF2-40B4-BE49-F238E27FC236}">
                  <a16:creationId xmlns:a16="http://schemas.microsoft.com/office/drawing/2014/main" id="{4A0C7763-58C7-4971-85F2-47EB4C2FD1C7}"/>
                </a:ext>
              </a:extLst>
            </p:cNvPr>
            <p:cNvGrpSpPr/>
            <p:nvPr/>
          </p:nvGrpSpPr>
          <p:grpSpPr>
            <a:xfrm>
              <a:off x="1715637" y="5113940"/>
              <a:ext cx="8315383" cy="703243"/>
              <a:chOff x="407242" y="5207636"/>
              <a:chExt cx="8315383" cy="703243"/>
            </a:xfrm>
          </p:grpSpPr>
          <p:pic>
            <p:nvPicPr>
              <p:cNvPr id="20" name="Picture 19"/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44144" y="5601841"/>
                <a:ext cx="3388816" cy="261050"/>
              </a:xfrm>
              <a:prstGeom prst="rect">
                <a:avLst/>
              </a:prstGeom>
            </p:spPr>
          </p:pic>
          <p:pic>
            <p:nvPicPr>
              <p:cNvPr id="21" name="Picture 20"/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07242" y="5353156"/>
                <a:ext cx="3505467" cy="270036"/>
              </a:xfrm>
              <a:prstGeom prst="rect">
                <a:avLst/>
              </a:prstGeom>
            </p:spPr>
          </p:pic>
          <p:pic>
            <p:nvPicPr>
              <p:cNvPr id="34" name="Picture 33"/>
              <p:cNvPicPr>
                <a:picLocks noChangeAspect="1"/>
              </p:cNvPicPr>
              <p:nvPr/>
            </p:nvPicPr>
            <p:blipFill>
              <a:blip r:embed="rId5">
                <a:duotone>
                  <a:schemeClr val="bg2">
                    <a:shade val="45000"/>
                    <a:satMod val="135000"/>
                  </a:schemeClr>
                  <a:prstClr val="white"/>
                </a:duotone>
              </a:blip>
              <a:stretch>
                <a:fillRect/>
              </a:stretch>
            </p:blipFill>
            <p:spPr>
              <a:xfrm>
                <a:off x="4881962" y="5438321"/>
                <a:ext cx="324541" cy="95886"/>
              </a:xfrm>
              <a:prstGeom prst="rect">
                <a:avLst/>
              </a:prstGeom>
            </p:spPr>
          </p:pic>
          <p:pic>
            <p:nvPicPr>
              <p:cNvPr id="35" name="Picture 34"/>
              <p:cNvPicPr>
                <a:picLocks noChangeAspect="1"/>
              </p:cNvPicPr>
              <p:nvPr/>
            </p:nvPicPr>
            <p:blipFill>
              <a:blip r:embed="rId6">
                <a:duotone>
                  <a:schemeClr val="bg2">
                    <a:shade val="45000"/>
                    <a:satMod val="135000"/>
                  </a:schemeClr>
                  <a:prstClr val="white"/>
                </a:duotone>
              </a:blip>
              <a:stretch>
                <a:fillRect/>
              </a:stretch>
            </p:blipFill>
            <p:spPr>
              <a:xfrm>
                <a:off x="4334094" y="5699241"/>
                <a:ext cx="510796" cy="109758"/>
              </a:xfrm>
              <a:prstGeom prst="rect">
                <a:avLst/>
              </a:prstGeom>
            </p:spPr>
          </p:pic>
          <p:pic>
            <p:nvPicPr>
              <p:cNvPr id="45" name="Picture 44"/>
              <p:cNvPicPr>
                <a:picLocks noChangeAspect="1"/>
              </p:cNvPicPr>
              <p:nvPr/>
            </p:nvPicPr>
            <p:blipFill>
              <a:blip r:embed="rId7" cstate="print">
                <a:duotone>
                  <a:schemeClr val="bg2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064727" y="5207636"/>
                <a:ext cx="745507" cy="521855"/>
              </a:xfrm>
              <a:prstGeom prst="rect">
                <a:avLst/>
              </a:prstGeom>
            </p:spPr>
          </p:pic>
          <p:pic>
            <p:nvPicPr>
              <p:cNvPr id="43" name="Picture 42"/>
              <p:cNvPicPr>
                <a:picLocks noChangeAspect="1"/>
              </p:cNvPicPr>
              <p:nvPr/>
            </p:nvPicPr>
            <p:blipFill rotWithShape="1">
              <a:blip r:embed="rId8" cstate="print">
                <a:duotone>
                  <a:schemeClr val="bg2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28593" b="28061"/>
              <a:stretch/>
            </p:blipFill>
            <p:spPr>
              <a:xfrm>
                <a:off x="6613249" y="5678706"/>
                <a:ext cx="1019828" cy="207812"/>
              </a:xfrm>
              <a:prstGeom prst="rect">
                <a:avLst/>
              </a:prstGeom>
            </p:spPr>
          </p:pic>
          <p:pic>
            <p:nvPicPr>
              <p:cNvPr id="42" name="Picture 41"/>
              <p:cNvPicPr>
                <a:picLocks noChangeAspect="1"/>
              </p:cNvPicPr>
              <p:nvPr/>
            </p:nvPicPr>
            <p:blipFill>
              <a:blip r:embed="rId9" cstate="print">
                <a:duotone>
                  <a:schemeClr val="accent3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5596903" y="5650502"/>
                <a:ext cx="1094595" cy="158497"/>
              </a:xfrm>
              <a:prstGeom prst="rect">
                <a:avLst/>
              </a:prstGeom>
            </p:spPr>
          </p:pic>
          <p:pic>
            <p:nvPicPr>
              <p:cNvPr id="41" name="Picture 40"/>
              <p:cNvPicPr>
                <a:picLocks noChangeAspect="1"/>
              </p:cNvPicPr>
              <p:nvPr/>
            </p:nvPicPr>
            <p:blipFill>
              <a:blip r:embed="rId10" cstate="print">
                <a:duotone>
                  <a:schemeClr val="accent3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8039723" y="5345024"/>
                <a:ext cx="682902" cy="517867"/>
              </a:xfrm>
              <a:prstGeom prst="rect">
                <a:avLst/>
              </a:prstGeom>
            </p:spPr>
          </p:pic>
          <p:pic>
            <p:nvPicPr>
              <p:cNvPr id="33" name="Picture 32"/>
              <p:cNvPicPr>
                <a:picLocks noChangeAspect="1"/>
              </p:cNvPicPr>
              <p:nvPr/>
            </p:nvPicPr>
            <p:blipFill>
              <a:blip r:embed="rId11">
                <a:duotone>
                  <a:schemeClr val="bg2">
                    <a:shade val="45000"/>
                    <a:satMod val="135000"/>
                  </a:schemeClr>
                  <a:prstClr val="white"/>
                </a:duotone>
              </a:blip>
              <a:stretch>
                <a:fillRect/>
              </a:stretch>
            </p:blipFill>
            <p:spPr>
              <a:xfrm>
                <a:off x="7516975" y="5627366"/>
                <a:ext cx="436325" cy="240853"/>
              </a:xfrm>
              <a:prstGeom prst="rect">
                <a:avLst/>
              </a:prstGeom>
            </p:spPr>
          </p:pic>
          <p:pic>
            <p:nvPicPr>
              <p:cNvPr id="46" name="Picture 45"/>
              <p:cNvPicPr>
                <a:picLocks noChangeAspect="1"/>
              </p:cNvPicPr>
              <p:nvPr/>
            </p:nvPicPr>
            <p:blipFill>
              <a:blip r:embed="rId12" cstate="print">
                <a:extLst>
                  <a:ext uri="{BEBA8EAE-BF5A-486C-A8C5-ECC9F3942E4B}">
                    <a14:imgProps xmlns:a14="http://schemas.microsoft.com/office/drawing/2010/main">
                      <a14:imgLayer r:embed="rId13">
                        <a14:imgEffect>
                          <a14:saturation sat="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984382" y="5455054"/>
                <a:ext cx="699423" cy="64257"/>
              </a:xfrm>
              <a:prstGeom prst="rect">
                <a:avLst/>
              </a:prstGeom>
            </p:spPr>
          </p:pic>
          <p:pic>
            <p:nvPicPr>
              <p:cNvPr id="47" name="Picture 46"/>
              <p:cNvPicPr>
                <a:picLocks noChangeAspect="1"/>
              </p:cNvPicPr>
              <p:nvPr/>
            </p:nvPicPr>
            <p:blipFill>
              <a:blip r:embed="rId14">
                <a:duotone>
                  <a:schemeClr val="bg2">
                    <a:shade val="45000"/>
                    <a:satMod val="135000"/>
                  </a:schemeClr>
                  <a:prstClr val="white"/>
                </a:duotone>
              </a:blip>
              <a:stretch>
                <a:fillRect/>
              </a:stretch>
            </p:blipFill>
            <p:spPr>
              <a:xfrm>
                <a:off x="5300540" y="5343036"/>
                <a:ext cx="737634" cy="193217"/>
              </a:xfrm>
              <a:prstGeom prst="rect">
                <a:avLst/>
              </a:prstGeom>
            </p:spPr>
          </p:pic>
          <p:pic>
            <p:nvPicPr>
              <p:cNvPr id="48" name="Picture 47"/>
              <p:cNvPicPr>
                <a:picLocks noChangeAspect="1"/>
              </p:cNvPicPr>
              <p:nvPr/>
            </p:nvPicPr>
            <p:blipFill>
              <a:blip r:embed="rId15" cstate="print">
                <a:duotone>
                  <a:schemeClr val="accent3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919649" y="5298338"/>
                <a:ext cx="959088" cy="340452"/>
              </a:xfrm>
              <a:prstGeom prst="rect">
                <a:avLst/>
              </a:prstGeom>
            </p:spPr>
          </p:pic>
          <p:pic>
            <p:nvPicPr>
              <p:cNvPr id="49" name="Picture 48"/>
              <p:cNvPicPr>
                <a:picLocks noChangeAspect="1"/>
              </p:cNvPicPr>
              <p:nvPr/>
            </p:nvPicPr>
            <p:blipFill>
              <a:blip r:embed="rId16" cstate="print">
                <a:duotone>
                  <a:schemeClr val="bg2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894805" y="5599122"/>
                <a:ext cx="415676" cy="311757"/>
              </a:xfrm>
              <a:prstGeom prst="rect">
                <a:avLst/>
              </a:prstGeom>
            </p:spPr>
          </p:pic>
          <p:pic>
            <p:nvPicPr>
              <p:cNvPr id="50" name="Picture 49"/>
              <p:cNvPicPr>
                <a:picLocks noChangeAspect="1"/>
              </p:cNvPicPr>
              <p:nvPr/>
            </p:nvPicPr>
            <p:blipFill>
              <a:blip r:embed="rId17" cstate="print">
                <a:duotone>
                  <a:schemeClr val="bg2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5049540" y="5699241"/>
                <a:ext cx="435442" cy="97104"/>
              </a:xfrm>
              <a:prstGeom prst="rect">
                <a:avLst/>
              </a:prstGeom>
            </p:spPr>
          </p:pic>
        </p:grpSp>
        <p:sp>
          <p:nvSpPr>
            <p:cNvPr id="51" name="TextBox 50"/>
            <p:cNvSpPr txBox="1"/>
            <p:nvPr/>
          </p:nvSpPr>
          <p:spPr>
            <a:xfrm>
              <a:off x="5349787" y="4908708"/>
              <a:ext cx="1047083" cy="215444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defPPr>
                <a:defRPr lang="en-US"/>
              </a:defPPr>
              <a:lvl1pPr algn="ctr">
                <a:defRPr sz="1400">
                  <a:solidFill>
                    <a:srgbClr val="083D65"/>
                  </a:solidFill>
                  <a:latin typeface="Segoe UI" panose="020B0502040204020203" pitchFamily="34" charset="0"/>
                  <a:cs typeface="Segoe UI" panose="020B0502040204020203" pitchFamily="34" charset="0"/>
                </a:defRPr>
              </a:lvl1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83D65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As used by</a:t>
              </a:r>
            </a:p>
          </p:txBody>
        </p:sp>
      </p:grpSp>
      <p:sp>
        <p:nvSpPr>
          <p:cNvPr id="44" name="Rectangle 43">
            <a:extLst>
              <a:ext uri="{FF2B5EF4-FFF2-40B4-BE49-F238E27FC236}">
                <a16:creationId xmlns:a16="http://schemas.microsoft.com/office/drawing/2014/main" id="{1AA2A670-4772-4504-9A86-BE460BACA39F}"/>
              </a:ext>
            </a:extLst>
          </p:cNvPr>
          <p:cNvSpPr/>
          <p:nvPr/>
        </p:nvSpPr>
        <p:spPr>
          <a:xfrm>
            <a:off x="2732747" y="530093"/>
            <a:ext cx="6726506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A SOLUTION FOR YOUR ENTIRE TEAM</a:t>
            </a: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B9810A48-58EE-4653-9094-4015568448A4}"/>
              </a:ext>
            </a:extLst>
          </p:cNvPr>
          <p:cNvSpPr/>
          <p:nvPr/>
        </p:nvSpPr>
        <p:spPr>
          <a:xfrm>
            <a:off x="672664" y="1371075"/>
            <a:ext cx="2360745" cy="738665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00" b="1" i="0" u="none" strike="noStrike" kern="1200" cap="none" spc="0" normalizeH="0" baseline="0" noProof="0" dirty="0">
                <a:ln w="22225"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$899</a:t>
            </a:r>
          </a:p>
        </p:txBody>
      </p:sp>
      <p:sp>
        <p:nvSpPr>
          <p:cNvPr id="82" name="Rectangle 81">
            <a:extLst>
              <a:ext uri="{FF2B5EF4-FFF2-40B4-BE49-F238E27FC236}">
                <a16:creationId xmlns:a16="http://schemas.microsoft.com/office/drawing/2014/main" id="{AE18B150-0A63-4BDA-9D00-C2EAC0C3644D}"/>
              </a:ext>
            </a:extLst>
          </p:cNvPr>
          <p:cNvSpPr/>
          <p:nvPr/>
        </p:nvSpPr>
        <p:spPr>
          <a:xfrm>
            <a:off x="1566636" y="2270553"/>
            <a:ext cx="753413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1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month</a:t>
            </a:r>
          </a:p>
        </p:txBody>
      </p:sp>
      <p:sp>
        <p:nvSpPr>
          <p:cNvPr id="119" name="Rectangle 118">
            <a:extLst>
              <a:ext uri="{FF2B5EF4-FFF2-40B4-BE49-F238E27FC236}">
                <a16:creationId xmlns:a16="http://schemas.microsoft.com/office/drawing/2014/main" id="{5C998BA0-6D9C-4E71-AABD-0B1CE27665CD}"/>
              </a:ext>
            </a:extLst>
          </p:cNvPr>
          <p:cNvSpPr/>
          <p:nvPr/>
        </p:nvSpPr>
        <p:spPr>
          <a:xfrm>
            <a:off x="883750" y="2614527"/>
            <a:ext cx="1938573" cy="165647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10 Slides / day</a:t>
            </a:r>
          </a:p>
          <a:p>
            <a:pPr marL="285750" marR="0" lvl="0" indent="-28575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From $4.5 per slide</a:t>
            </a:r>
          </a:p>
          <a:p>
            <a:pPr marL="285750" marR="0" lvl="0" indent="-28575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24 hour turn around</a:t>
            </a:r>
          </a:p>
          <a:p>
            <a:pPr marL="285750" marR="0" lvl="0" indent="-28575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Dedicated Team</a:t>
            </a:r>
          </a:p>
        </p:txBody>
      </p:sp>
      <p:grpSp>
        <p:nvGrpSpPr>
          <p:cNvPr id="218" name="Group 217">
            <a:extLst>
              <a:ext uri="{FF2B5EF4-FFF2-40B4-BE49-F238E27FC236}">
                <a16:creationId xmlns:a16="http://schemas.microsoft.com/office/drawing/2014/main" id="{7D2AC6DF-FF9A-488F-9123-53AA85D9365B}"/>
              </a:ext>
            </a:extLst>
          </p:cNvPr>
          <p:cNvGrpSpPr/>
          <p:nvPr/>
        </p:nvGrpSpPr>
        <p:grpSpPr>
          <a:xfrm>
            <a:off x="600617" y="1217205"/>
            <a:ext cx="2504839" cy="3373586"/>
            <a:chOff x="600617" y="1217205"/>
            <a:chExt cx="2504839" cy="3373586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FFF60778-A552-4178-967A-D6012B06C7A5}"/>
                </a:ext>
              </a:extLst>
            </p:cNvPr>
            <p:cNvSpPr/>
            <p:nvPr/>
          </p:nvSpPr>
          <p:spPr>
            <a:xfrm>
              <a:off x="600617" y="4545072"/>
              <a:ext cx="2504839" cy="45719"/>
            </a:xfrm>
            <a:prstGeom prst="rect">
              <a:avLst/>
            </a:prstGeom>
            <a:solidFill>
              <a:srgbClr val="7AC2F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8" name="Rectangle 167">
              <a:extLst>
                <a:ext uri="{FF2B5EF4-FFF2-40B4-BE49-F238E27FC236}">
                  <a16:creationId xmlns:a16="http://schemas.microsoft.com/office/drawing/2014/main" id="{C018E09C-793B-4B90-8ABF-2FDE455E5932}"/>
                </a:ext>
              </a:extLst>
            </p:cNvPr>
            <p:cNvSpPr/>
            <p:nvPr/>
          </p:nvSpPr>
          <p:spPr>
            <a:xfrm>
              <a:off x="600617" y="1217205"/>
              <a:ext cx="2504839" cy="45719"/>
            </a:xfrm>
            <a:prstGeom prst="rect">
              <a:avLst/>
            </a:prstGeom>
            <a:solidFill>
              <a:srgbClr val="7AC2F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73" name="Rectangle 72">
            <a:extLst>
              <a:ext uri="{FF2B5EF4-FFF2-40B4-BE49-F238E27FC236}">
                <a16:creationId xmlns:a16="http://schemas.microsoft.com/office/drawing/2014/main" id="{A4577D3E-B848-40A4-BDA3-371D139FFCD7}"/>
              </a:ext>
            </a:extLst>
          </p:cNvPr>
          <p:cNvSpPr/>
          <p:nvPr/>
        </p:nvSpPr>
        <p:spPr>
          <a:xfrm>
            <a:off x="3363956" y="1371073"/>
            <a:ext cx="2153840" cy="73866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00" b="1" i="0" u="none" strike="noStrike" kern="1200" cap="none" spc="0" normalizeH="0" baseline="0" noProof="0" dirty="0">
                <a:ln w="22225"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$1,900</a:t>
            </a: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BD332408-7260-462F-AD7D-949F359D495F}"/>
              </a:ext>
            </a:extLst>
          </p:cNvPr>
          <p:cNvSpPr/>
          <p:nvPr/>
        </p:nvSpPr>
        <p:spPr>
          <a:xfrm>
            <a:off x="4126466" y="2215788"/>
            <a:ext cx="753413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1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month</a:t>
            </a:r>
          </a:p>
        </p:txBody>
      </p:sp>
      <p:sp>
        <p:nvSpPr>
          <p:cNvPr id="120" name="Rectangle 119">
            <a:extLst>
              <a:ext uri="{FF2B5EF4-FFF2-40B4-BE49-F238E27FC236}">
                <a16:creationId xmlns:a16="http://schemas.microsoft.com/office/drawing/2014/main" id="{9AD4C567-68CB-4D4E-B46F-AE6B623D0433}"/>
              </a:ext>
            </a:extLst>
          </p:cNvPr>
          <p:cNvSpPr/>
          <p:nvPr/>
        </p:nvSpPr>
        <p:spPr>
          <a:xfrm>
            <a:off x="3443580" y="2614527"/>
            <a:ext cx="1938573" cy="165647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25 Slides / day</a:t>
            </a:r>
          </a:p>
          <a:p>
            <a:pPr marL="285750" marR="0" lvl="0" indent="-28575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From $3.8 per slide</a:t>
            </a:r>
          </a:p>
          <a:p>
            <a:pPr marL="285750" marR="0" lvl="0" indent="-28575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24 hour turn around</a:t>
            </a:r>
          </a:p>
          <a:p>
            <a:pPr marL="285750" marR="0" lvl="0" indent="-28575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Dedicated Team</a:t>
            </a:r>
          </a:p>
        </p:txBody>
      </p:sp>
      <p:grpSp>
        <p:nvGrpSpPr>
          <p:cNvPr id="216" name="Group 215">
            <a:extLst>
              <a:ext uri="{FF2B5EF4-FFF2-40B4-BE49-F238E27FC236}">
                <a16:creationId xmlns:a16="http://schemas.microsoft.com/office/drawing/2014/main" id="{A4AD765A-A9FC-4380-B5C5-AA23BE3F2EC4}"/>
              </a:ext>
            </a:extLst>
          </p:cNvPr>
          <p:cNvGrpSpPr/>
          <p:nvPr/>
        </p:nvGrpSpPr>
        <p:grpSpPr>
          <a:xfrm>
            <a:off x="3188457" y="1217205"/>
            <a:ext cx="2504839" cy="3373586"/>
            <a:chOff x="3188457" y="1217205"/>
            <a:chExt cx="2504839" cy="3373586"/>
          </a:xfrm>
        </p:grpSpPr>
        <p:sp>
          <p:nvSpPr>
            <p:cNvPr id="166" name="Rectangle 165">
              <a:extLst>
                <a:ext uri="{FF2B5EF4-FFF2-40B4-BE49-F238E27FC236}">
                  <a16:creationId xmlns:a16="http://schemas.microsoft.com/office/drawing/2014/main" id="{187C9854-6707-49B5-AAB0-8B1D104C416C}"/>
                </a:ext>
              </a:extLst>
            </p:cNvPr>
            <p:cNvSpPr/>
            <p:nvPr/>
          </p:nvSpPr>
          <p:spPr>
            <a:xfrm>
              <a:off x="3188457" y="4545072"/>
              <a:ext cx="2504839" cy="45719"/>
            </a:xfrm>
            <a:prstGeom prst="rect">
              <a:avLst/>
            </a:prstGeom>
            <a:solidFill>
              <a:srgbClr val="7AC2F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9" name="Rectangle 168">
              <a:extLst>
                <a:ext uri="{FF2B5EF4-FFF2-40B4-BE49-F238E27FC236}">
                  <a16:creationId xmlns:a16="http://schemas.microsoft.com/office/drawing/2014/main" id="{0F3AED94-9359-4B1F-8C66-3940EF11161C}"/>
                </a:ext>
              </a:extLst>
            </p:cNvPr>
            <p:cNvSpPr/>
            <p:nvPr/>
          </p:nvSpPr>
          <p:spPr>
            <a:xfrm>
              <a:off x="3188457" y="1217205"/>
              <a:ext cx="2504839" cy="45719"/>
            </a:xfrm>
            <a:prstGeom prst="rect">
              <a:avLst/>
            </a:prstGeom>
            <a:solidFill>
              <a:srgbClr val="7AC2F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76" name="Rectangle 75">
            <a:extLst>
              <a:ext uri="{FF2B5EF4-FFF2-40B4-BE49-F238E27FC236}">
                <a16:creationId xmlns:a16="http://schemas.microsoft.com/office/drawing/2014/main" id="{D0F8E0FA-CCB1-49A3-A9B0-3F4C9A67031D}"/>
              </a:ext>
            </a:extLst>
          </p:cNvPr>
          <p:cNvSpPr/>
          <p:nvPr/>
        </p:nvSpPr>
        <p:spPr>
          <a:xfrm>
            <a:off x="5943601" y="1367030"/>
            <a:ext cx="2214068" cy="73866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00" b="1" i="0" u="none" strike="noStrike" kern="1200" cap="none" spc="0" normalizeH="0" baseline="0" noProof="0" dirty="0">
                <a:ln w="22225"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$3,900</a:t>
            </a:r>
          </a:p>
        </p:txBody>
      </p:sp>
      <p:sp>
        <p:nvSpPr>
          <p:cNvPr id="84" name="Rectangle 83">
            <a:extLst>
              <a:ext uri="{FF2B5EF4-FFF2-40B4-BE49-F238E27FC236}">
                <a16:creationId xmlns:a16="http://schemas.microsoft.com/office/drawing/2014/main" id="{8B28A30F-72A1-42C4-A692-7D530C4C9432}"/>
              </a:ext>
            </a:extLst>
          </p:cNvPr>
          <p:cNvSpPr/>
          <p:nvPr/>
        </p:nvSpPr>
        <p:spPr>
          <a:xfrm>
            <a:off x="6652009" y="2215788"/>
            <a:ext cx="753413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1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month</a:t>
            </a:r>
          </a:p>
        </p:txBody>
      </p:sp>
      <p:sp>
        <p:nvSpPr>
          <p:cNvPr id="121" name="Rectangle 120">
            <a:extLst>
              <a:ext uri="{FF2B5EF4-FFF2-40B4-BE49-F238E27FC236}">
                <a16:creationId xmlns:a16="http://schemas.microsoft.com/office/drawing/2014/main" id="{8F2E9147-0F90-4A93-A6A8-A2641F87607B}"/>
              </a:ext>
            </a:extLst>
          </p:cNvPr>
          <p:cNvSpPr/>
          <p:nvPr/>
        </p:nvSpPr>
        <p:spPr>
          <a:xfrm>
            <a:off x="6059428" y="2614527"/>
            <a:ext cx="1938573" cy="165647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60 Slides / day</a:t>
            </a:r>
          </a:p>
          <a:p>
            <a:pPr marL="285750" marR="0" lvl="0" indent="-28575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From $3.2 per slide</a:t>
            </a:r>
          </a:p>
          <a:p>
            <a:pPr marL="285750" marR="0" lvl="0" indent="-28575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24 hour turn around</a:t>
            </a:r>
          </a:p>
          <a:p>
            <a:pPr marL="285750" marR="0" lvl="0" indent="-28575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Dedicated Team</a:t>
            </a:r>
          </a:p>
        </p:txBody>
      </p:sp>
      <p:grpSp>
        <p:nvGrpSpPr>
          <p:cNvPr id="215" name="Group 214">
            <a:extLst>
              <a:ext uri="{FF2B5EF4-FFF2-40B4-BE49-F238E27FC236}">
                <a16:creationId xmlns:a16="http://schemas.microsoft.com/office/drawing/2014/main" id="{EBF79B94-9DA8-473D-907F-927F10FFAFC1}"/>
              </a:ext>
            </a:extLst>
          </p:cNvPr>
          <p:cNvGrpSpPr/>
          <p:nvPr/>
        </p:nvGrpSpPr>
        <p:grpSpPr>
          <a:xfrm>
            <a:off x="5776296" y="1217205"/>
            <a:ext cx="2504839" cy="3373586"/>
            <a:chOff x="5776296" y="1217205"/>
            <a:chExt cx="2504839" cy="3373586"/>
          </a:xfrm>
        </p:grpSpPr>
        <p:sp>
          <p:nvSpPr>
            <p:cNvPr id="167" name="Rectangle 166">
              <a:extLst>
                <a:ext uri="{FF2B5EF4-FFF2-40B4-BE49-F238E27FC236}">
                  <a16:creationId xmlns:a16="http://schemas.microsoft.com/office/drawing/2014/main" id="{77D988CC-9B88-413E-93C2-C869C58096EA}"/>
                </a:ext>
              </a:extLst>
            </p:cNvPr>
            <p:cNvSpPr/>
            <p:nvPr/>
          </p:nvSpPr>
          <p:spPr>
            <a:xfrm>
              <a:off x="5776296" y="4545072"/>
              <a:ext cx="2504839" cy="45719"/>
            </a:xfrm>
            <a:prstGeom prst="rect">
              <a:avLst/>
            </a:prstGeom>
            <a:solidFill>
              <a:srgbClr val="7AC2F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0" name="Rectangle 169">
              <a:extLst>
                <a:ext uri="{FF2B5EF4-FFF2-40B4-BE49-F238E27FC236}">
                  <a16:creationId xmlns:a16="http://schemas.microsoft.com/office/drawing/2014/main" id="{533D9528-ECF4-4BA2-B405-B2CEB02B7987}"/>
                </a:ext>
              </a:extLst>
            </p:cNvPr>
            <p:cNvSpPr/>
            <p:nvPr/>
          </p:nvSpPr>
          <p:spPr>
            <a:xfrm>
              <a:off x="5776296" y="1217205"/>
              <a:ext cx="2504839" cy="45719"/>
            </a:xfrm>
            <a:prstGeom prst="rect">
              <a:avLst/>
            </a:prstGeom>
            <a:solidFill>
              <a:srgbClr val="7AC2F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209" name="Group 208">
            <a:extLst>
              <a:ext uri="{FF2B5EF4-FFF2-40B4-BE49-F238E27FC236}">
                <a16:creationId xmlns:a16="http://schemas.microsoft.com/office/drawing/2014/main" id="{B62136CF-26D1-4E3C-A6C7-CF76DF49877A}"/>
              </a:ext>
            </a:extLst>
          </p:cNvPr>
          <p:cNvGrpSpPr/>
          <p:nvPr/>
        </p:nvGrpSpPr>
        <p:grpSpPr>
          <a:xfrm>
            <a:off x="8386621" y="1217205"/>
            <a:ext cx="3134032" cy="3373586"/>
            <a:chOff x="8575598" y="1339841"/>
            <a:chExt cx="2988302" cy="3373586"/>
          </a:xfrm>
        </p:grpSpPr>
        <p:sp>
          <p:nvSpPr>
            <p:cNvPr id="171" name="Rectangle 170">
              <a:extLst>
                <a:ext uri="{FF2B5EF4-FFF2-40B4-BE49-F238E27FC236}">
                  <a16:creationId xmlns:a16="http://schemas.microsoft.com/office/drawing/2014/main" id="{95C9B982-0181-4CF4-8DC6-5A27C0EB2B38}"/>
                </a:ext>
              </a:extLst>
            </p:cNvPr>
            <p:cNvSpPr/>
            <p:nvPr/>
          </p:nvSpPr>
          <p:spPr>
            <a:xfrm>
              <a:off x="8575599" y="4667708"/>
              <a:ext cx="2988301" cy="45719"/>
            </a:xfrm>
            <a:prstGeom prst="rect">
              <a:avLst/>
            </a:prstGeom>
            <a:solidFill>
              <a:srgbClr val="7AC2F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2" name="Rectangle 171">
              <a:extLst>
                <a:ext uri="{FF2B5EF4-FFF2-40B4-BE49-F238E27FC236}">
                  <a16:creationId xmlns:a16="http://schemas.microsoft.com/office/drawing/2014/main" id="{6E863F44-D1D6-46E5-928B-2C8B5D8D5E1A}"/>
                </a:ext>
              </a:extLst>
            </p:cNvPr>
            <p:cNvSpPr/>
            <p:nvPr/>
          </p:nvSpPr>
          <p:spPr>
            <a:xfrm>
              <a:off x="8575598" y="1339841"/>
              <a:ext cx="2988301" cy="45719"/>
            </a:xfrm>
            <a:prstGeom prst="rect">
              <a:avLst/>
            </a:prstGeom>
            <a:solidFill>
              <a:srgbClr val="7AC2F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81" name="Rectangle 80">
            <a:extLst>
              <a:ext uri="{FF2B5EF4-FFF2-40B4-BE49-F238E27FC236}">
                <a16:creationId xmlns:a16="http://schemas.microsoft.com/office/drawing/2014/main" id="{9E872107-4427-4CB1-85DD-A1628A5A5DD7}"/>
              </a:ext>
            </a:extLst>
          </p:cNvPr>
          <p:cNvSpPr/>
          <p:nvPr/>
        </p:nvSpPr>
        <p:spPr>
          <a:xfrm>
            <a:off x="8451712" y="1439378"/>
            <a:ext cx="3003850" cy="615553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1" i="0" u="none" strike="noStrike" kern="1200" cap="none" spc="0" normalizeH="0" baseline="0" noProof="0" dirty="0">
                <a:ln w="15875"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ENTERPRISE</a:t>
            </a:r>
          </a:p>
        </p:txBody>
      </p:sp>
      <p:grpSp>
        <p:nvGrpSpPr>
          <p:cNvPr id="123" name="Group 122">
            <a:extLst>
              <a:ext uri="{FF2B5EF4-FFF2-40B4-BE49-F238E27FC236}">
                <a16:creationId xmlns:a16="http://schemas.microsoft.com/office/drawing/2014/main" id="{DD940FEB-1A4B-411C-B871-96146C6667B5}"/>
              </a:ext>
            </a:extLst>
          </p:cNvPr>
          <p:cNvGrpSpPr/>
          <p:nvPr/>
        </p:nvGrpSpPr>
        <p:grpSpPr>
          <a:xfrm>
            <a:off x="9254030" y="2112168"/>
            <a:ext cx="1394505" cy="1320877"/>
            <a:chOff x="5232563" y="1693503"/>
            <a:chExt cx="1726417" cy="1635263"/>
          </a:xfrm>
        </p:grpSpPr>
        <p:sp>
          <p:nvSpPr>
            <p:cNvPr id="124" name="Freeform 84">
              <a:extLst>
                <a:ext uri="{FF2B5EF4-FFF2-40B4-BE49-F238E27FC236}">
                  <a16:creationId xmlns:a16="http://schemas.microsoft.com/office/drawing/2014/main" id="{CBA217BF-C4C0-4BDA-91AA-17D44242DA34}"/>
                </a:ext>
              </a:extLst>
            </p:cNvPr>
            <p:cNvSpPr>
              <a:spLocks/>
            </p:cNvSpPr>
            <p:nvPr/>
          </p:nvSpPr>
          <p:spPr bwMode="auto">
            <a:xfrm>
              <a:off x="5243582" y="1705023"/>
              <a:ext cx="1613726" cy="1612224"/>
            </a:xfrm>
            <a:custGeom>
              <a:avLst/>
              <a:gdLst>
                <a:gd name="T0" fmla="*/ 1715 w 1715"/>
                <a:gd name="T1" fmla="*/ 857 h 1715"/>
                <a:gd name="T2" fmla="*/ 1681 w 1715"/>
                <a:gd name="T3" fmla="*/ 1098 h 1715"/>
                <a:gd name="T4" fmla="*/ 1239 w 1715"/>
                <a:gd name="T5" fmla="*/ 1626 h 1715"/>
                <a:gd name="T6" fmla="*/ 858 w 1715"/>
                <a:gd name="T7" fmla="*/ 1715 h 1715"/>
                <a:gd name="T8" fmla="*/ 0 w 1715"/>
                <a:gd name="T9" fmla="*/ 857 h 1715"/>
                <a:gd name="T10" fmla="*/ 858 w 1715"/>
                <a:gd name="T11" fmla="*/ 0 h 1715"/>
                <a:gd name="T12" fmla="*/ 1715 w 1715"/>
                <a:gd name="T13" fmla="*/ 857 h 17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15" h="1715">
                  <a:moveTo>
                    <a:pt x="1715" y="857"/>
                  </a:moveTo>
                  <a:cubicBezTo>
                    <a:pt x="1715" y="941"/>
                    <a:pt x="1703" y="1021"/>
                    <a:pt x="1681" y="1098"/>
                  </a:cubicBezTo>
                  <a:cubicBezTo>
                    <a:pt x="1614" y="1329"/>
                    <a:pt x="1451" y="1520"/>
                    <a:pt x="1239" y="1626"/>
                  </a:cubicBezTo>
                  <a:cubicBezTo>
                    <a:pt x="1124" y="1683"/>
                    <a:pt x="994" y="1715"/>
                    <a:pt x="858" y="1715"/>
                  </a:cubicBezTo>
                  <a:cubicBezTo>
                    <a:pt x="384" y="1715"/>
                    <a:pt x="0" y="1331"/>
                    <a:pt x="0" y="857"/>
                  </a:cubicBezTo>
                  <a:cubicBezTo>
                    <a:pt x="0" y="384"/>
                    <a:pt x="384" y="0"/>
                    <a:pt x="858" y="0"/>
                  </a:cubicBezTo>
                  <a:cubicBezTo>
                    <a:pt x="1331" y="0"/>
                    <a:pt x="1715" y="384"/>
                    <a:pt x="1715" y="857"/>
                  </a:cubicBezTo>
                </a:path>
              </a:pathLst>
            </a:custGeom>
            <a:solidFill>
              <a:srgbClr val="E4F3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5" name="Freeform 85">
              <a:extLst>
                <a:ext uri="{FF2B5EF4-FFF2-40B4-BE49-F238E27FC236}">
                  <a16:creationId xmlns:a16="http://schemas.microsoft.com/office/drawing/2014/main" id="{4BE3CEA2-0D1E-471C-B4D7-D052E2FAD5E6}"/>
                </a:ext>
              </a:extLst>
            </p:cNvPr>
            <p:cNvSpPr>
              <a:spLocks/>
            </p:cNvSpPr>
            <p:nvPr/>
          </p:nvSpPr>
          <p:spPr bwMode="auto">
            <a:xfrm>
              <a:off x="5232563" y="1693503"/>
              <a:ext cx="1635764" cy="1635263"/>
            </a:xfrm>
            <a:custGeom>
              <a:avLst/>
              <a:gdLst>
                <a:gd name="T0" fmla="*/ 1727 w 1739"/>
                <a:gd name="T1" fmla="*/ 869 h 1739"/>
                <a:gd name="T2" fmla="*/ 1715 w 1739"/>
                <a:gd name="T3" fmla="*/ 869 h 1739"/>
                <a:gd name="T4" fmla="*/ 1681 w 1739"/>
                <a:gd name="T5" fmla="*/ 1106 h 1739"/>
                <a:gd name="T6" fmla="*/ 1245 w 1739"/>
                <a:gd name="T7" fmla="*/ 1627 h 1739"/>
                <a:gd name="T8" fmla="*/ 870 w 1739"/>
                <a:gd name="T9" fmla="*/ 1715 h 1739"/>
                <a:gd name="T10" fmla="*/ 272 w 1739"/>
                <a:gd name="T11" fmla="*/ 1467 h 1739"/>
                <a:gd name="T12" fmla="*/ 24 w 1739"/>
                <a:gd name="T13" fmla="*/ 869 h 1739"/>
                <a:gd name="T14" fmla="*/ 272 w 1739"/>
                <a:gd name="T15" fmla="*/ 272 h 1739"/>
                <a:gd name="T16" fmla="*/ 870 w 1739"/>
                <a:gd name="T17" fmla="*/ 24 h 1739"/>
                <a:gd name="T18" fmla="*/ 1467 w 1739"/>
                <a:gd name="T19" fmla="*/ 272 h 1739"/>
                <a:gd name="T20" fmla="*/ 1715 w 1739"/>
                <a:gd name="T21" fmla="*/ 869 h 1739"/>
                <a:gd name="T22" fmla="*/ 1727 w 1739"/>
                <a:gd name="T23" fmla="*/ 869 h 1739"/>
                <a:gd name="T24" fmla="*/ 1739 w 1739"/>
                <a:gd name="T25" fmla="*/ 869 h 1739"/>
                <a:gd name="T26" fmla="*/ 870 w 1739"/>
                <a:gd name="T27" fmla="*/ 0 h 1739"/>
                <a:gd name="T28" fmla="*/ 0 w 1739"/>
                <a:gd name="T29" fmla="*/ 869 h 1739"/>
                <a:gd name="T30" fmla="*/ 870 w 1739"/>
                <a:gd name="T31" fmla="*/ 1739 h 1739"/>
                <a:gd name="T32" fmla="*/ 1256 w 1739"/>
                <a:gd name="T33" fmla="*/ 1649 h 1739"/>
                <a:gd name="T34" fmla="*/ 1704 w 1739"/>
                <a:gd name="T35" fmla="*/ 1113 h 1739"/>
                <a:gd name="T36" fmla="*/ 1739 w 1739"/>
                <a:gd name="T37" fmla="*/ 869 h 1739"/>
                <a:gd name="T38" fmla="*/ 1727 w 1739"/>
                <a:gd name="T39" fmla="*/ 869 h 17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739" h="1739">
                  <a:moveTo>
                    <a:pt x="1727" y="869"/>
                  </a:moveTo>
                  <a:cubicBezTo>
                    <a:pt x="1715" y="869"/>
                    <a:pt x="1715" y="869"/>
                    <a:pt x="1715" y="869"/>
                  </a:cubicBezTo>
                  <a:cubicBezTo>
                    <a:pt x="1715" y="952"/>
                    <a:pt x="1703" y="1031"/>
                    <a:pt x="1681" y="1106"/>
                  </a:cubicBezTo>
                  <a:cubicBezTo>
                    <a:pt x="1615" y="1335"/>
                    <a:pt x="1455" y="1523"/>
                    <a:pt x="1245" y="1627"/>
                  </a:cubicBezTo>
                  <a:cubicBezTo>
                    <a:pt x="1132" y="1683"/>
                    <a:pt x="1005" y="1715"/>
                    <a:pt x="870" y="1715"/>
                  </a:cubicBezTo>
                  <a:cubicBezTo>
                    <a:pt x="636" y="1715"/>
                    <a:pt x="425" y="1620"/>
                    <a:pt x="272" y="1467"/>
                  </a:cubicBezTo>
                  <a:cubicBezTo>
                    <a:pt x="119" y="1314"/>
                    <a:pt x="24" y="1103"/>
                    <a:pt x="24" y="869"/>
                  </a:cubicBezTo>
                  <a:cubicBezTo>
                    <a:pt x="24" y="636"/>
                    <a:pt x="119" y="425"/>
                    <a:pt x="272" y="272"/>
                  </a:cubicBezTo>
                  <a:cubicBezTo>
                    <a:pt x="425" y="119"/>
                    <a:pt x="636" y="24"/>
                    <a:pt x="870" y="24"/>
                  </a:cubicBezTo>
                  <a:cubicBezTo>
                    <a:pt x="1103" y="24"/>
                    <a:pt x="1314" y="119"/>
                    <a:pt x="1467" y="272"/>
                  </a:cubicBezTo>
                  <a:cubicBezTo>
                    <a:pt x="1620" y="425"/>
                    <a:pt x="1715" y="636"/>
                    <a:pt x="1715" y="869"/>
                  </a:cubicBezTo>
                  <a:cubicBezTo>
                    <a:pt x="1727" y="869"/>
                    <a:pt x="1727" y="869"/>
                    <a:pt x="1727" y="869"/>
                  </a:cubicBezTo>
                  <a:cubicBezTo>
                    <a:pt x="1739" y="869"/>
                    <a:pt x="1739" y="869"/>
                    <a:pt x="1739" y="869"/>
                  </a:cubicBezTo>
                  <a:cubicBezTo>
                    <a:pt x="1739" y="389"/>
                    <a:pt x="1350" y="0"/>
                    <a:pt x="870" y="0"/>
                  </a:cubicBezTo>
                  <a:cubicBezTo>
                    <a:pt x="389" y="0"/>
                    <a:pt x="0" y="389"/>
                    <a:pt x="0" y="869"/>
                  </a:cubicBezTo>
                  <a:cubicBezTo>
                    <a:pt x="0" y="1350"/>
                    <a:pt x="389" y="1739"/>
                    <a:pt x="870" y="1739"/>
                  </a:cubicBezTo>
                  <a:cubicBezTo>
                    <a:pt x="1008" y="1739"/>
                    <a:pt x="1139" y="1706"/>
                    <a:pt x="1256" y="1649"/>
                  </a:cubicBezTo>
                  <a:cubicBezTo>
                    <a:pt x="1471" y="1542"/>
                    <a:pt x="1636" y="1348"/>
                    <a:pt x="1704" y="1113"/>
                  </a:cubicBezTo>
                  <a:cubicBezTo>
                    <a:pt x="1727" y="1036"/>
                    <a:pt x="1739" y="954"/>
                    <a:pt x="1739" y="869"/>
                  </a:cubicBezTo>
                  <a:cubicBezTo>
                    <a:pt x="1727" y="869"/>
                    <a:pt x="1727" y="869"/>
                    <a:pt x="1727" y="869"/>
                  </a:cubicBezTo>
                </a:path>
              </a:pathLst>
            </a:custGeom>
            <a:solidFill>
              <a:srgbClr val="7AC2F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6" name="Freeform 86">
              <a:extLst>
                <a:ext uri="{FF2B5EF4-FFF2-40B4-BE49-F238E27FC236}">
                  <a16:creationId xmlns:a16="http://schemas.microsoft.com/office/drawing/2014/main" id="{3989C1E3-EDE2-4CE5-9DCF-1E90047E2B87}"/>
                </a:ext>
              </a:extLst>
            </p:cNvPr>
            <p:cNvSpPr>
              <a:spLocks/>
            </p:cNvSpPr>
            <p:nvPr/>
          </p:nvSpPr>
          <p:spPr bwMode="auto">
            <a:xfrm>
              <a:off x="5368793" y="1829733"/>
              <a:ext cx="1363303" cy="1362803"/>
            </a:xfrm>
            <a:custGeom>
              <a:avLst/>
              <a:gdLst>
                <a:gd name="T0" fmla="*/ 1449 w 1449"/>
                <a:gd name="T1" fmla="*/ 724 h 1449"/>
                <a:gd name="T2" fmla="*/ 1251 w 1449"/>
                <a:gd name="T3" fmla="*/ 1221 h 1449"/>
                <a:gd name="T4" fmla="*/ 725 w 1449"/>
                <a:gd name="T5" fmla="*/ 1449 h 1449"/>
                <a:gd name="T6" fmla="*/ 198 w 1449"/>
                <a:gd name="T7" fmla="*/ 1221 h 1449"/>
                <a:gd name="T8" fmla="*/ 0 w 1449"/>
                <a:gd name="T9" fmla="*/ 724 h 1449"/>
                <a:gd name="T10" fmla="*/ 725 w 1449"/>
                <a:gd name="T11" fmla="*/ 0 h 1449"/>
                <a:gd name="T12" fmla="*/ 1449 w 1449"/>
                <a:gd name="T13" fmla="*/ 724 h 14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49" h="1449">
                  <a:moveTo>
                    <a:pt x="1449" y="724"/>
                  </a:moveTo>
                  <a:cubicBezTo>
                    <a:pt x="1449" y="917"/>
                    <a:pt x="1374" y="1092"/>
                    <a:pt x="1251" y="1221"/>
                  </a:cubicBezTo>
                  <a:cubicBezTo>
                    <a:pt x="1119" y="1361"/>
                    <a:pt x="932" y="1449"/>
                    <a:pt x="725" y="1449"/>
                  </a:cubicBezTo>
                  <a:cubicBezTo>
                    <a:pt x="517" y="1449"/>
                    <a:pt x="330" y="1361"/>
                    <a:pt x="198" y="1221"/>
                  </a:cubicBezTo>
                  <a:cubicBezTo>
                    <a:pt x="75" y="1092"/>
                    <a:pt x="0" y="917"/>
                    <a:pt x="0" y="724"/>
                  </a:cubicBezTo>
                  <a:cubicBezTo>
                    <a:pt x="0" y="324"/>
                    <a:pt x="325" y="0"/>
                    <a:pt x="725" y="0"/>
                  </a:cubicBezTo>
                  <a:cubicBezTo>
                    <a:pt x="1125" y="0"/>
                    <a:pt x="1449" y="324"/>
                    <a:pt x="1449" y="72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7" name="Freeform 87">
              <a:extLst>
                <a:ext uri="{FF2B5EF4-FFF2-40B4-BE49-F238E27FC236}">
                  <a16:creationId xmlns:a16="http://schemas.microsoft.com/office/drawing/2014/main" id="{106160D0-FC9B-498A-988D-81860EC39A0A}"/>
                </a:ext>
              </a:extLst>
            </p:cNvPr>
            <p:cNvSpPr>
              <a:spLocks/>
            </p:cNvSpPr>
            <p:nvPr/>
          </p:nvSpPr>
          <p:spPr bwMode="auto">
            <a:xfrm>
              <a:off x="5357775" y="1818715"/>
              <a:ext cx="1385842" cy="1384840"/>
            </a:xfrm>
            <a:custGeom>
              <a:avLst/>
              <a:gdLst>
                <a:gd name="T0" fmla="*/ 1461 w 1473"/>
                <a:gd name="T1" fmla="*/ 736 h 1473"/>
                <a:gd name="T2" fmla="*/ 1449 w 1473"/>
                <a:gd name="T3" fmla="*/ 736 h 1473"/>
                <a:gd name="T4" fmla="*/ 1255 w 1473"/>
                <a:gd name="T5" fmla="*/ 1225 h 1473"/>
                <a:gd name="T6" fmla="*/ 737 w 1473"/>
                <a:gd name="T7" fmla="*/ 1449 h 1473"/>
                <a:gd name="T8" fmla="*/ 219 w 1473"/>
                <a:gd name="T9" fmla="*/ 1225 h 1473"/>
                <a:gd name="T10" fmla="*/ 24 w 1473"/>
                <a:gd name="T11" fmla="*/ 736 h 1473"/>
                <a:gd name="T12" fmla="*/ 233 w 1473"/>
                <a:gd name="T13" fmla="*/ 233 h 1473"/>
                <a:gd name="T14" fmla="*/ 737 w 1473"/>
                <a:gd name="T15" fmla="*/ 24 h 1473"/>
                <a:gd name="T16" fmla="*/ 1240 w 1473"/>
                <a:gd name="T17" fmla="*/ 233 h 1473"/>
                <a:gd name="T18" fmla="*/ 1449 w 1473"/>
                <a:gd name="T19" fmla="*/ 736 h 1473"/>
                <a:gd name="T20" fmla="*/ 1461 w 1473"/>
                <a:gd name="T21" fmla="*/ 736 h 1473"/>
                <a:gd name="T22" fmla="*/ 1473 w 1473"/>
                <a:gd name="T23" fmla="*/ 736 h 1473"/>
                <a:gd name="T24" fmla="*/ 737 w 1473"/>
                <a:gd name="T25" fmla="*/ 0 h 1473"/>
                <a:gd name="T26" fmla="*/ 0 w 1473"/>
                <a:gd name="T27" fmla="*/ 736 h 1473"/>
                <a:gd name="T28" fmla="*/ 201 w 1473"/>
                <a:gd name="T29" fmla="*/ 1242 h 1473"/>
                <a:gd name="T30" fmla="*/ 737 w 1473"/>
                <a:gd name="T31" fmla="*/ 1473 h 1473"/>
                <a:gd name="T32" fmla="*/ 1272 w 1473"/>
                <a:gd name="T33" fmla="*/ 1242 h 1473"/>
                <a:gd name="T34" fmla="*/ 1473 w 1473"/>
                <a:gd name="T35" fmla="*/ 736 h 1473"/>
                <a:gd name="T36" fmla="*/ 1461 w 1473"/>
                <a:gd name="T37" fmla="*/ 736 h 14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473" h="1473">
                  <a:moveTo>
                    <a:pt x="1461" y="736"/>
                  </a:moveTo>
                  <a:cubicBezTo>
                    <a:pt x="1449" y="736"/>
                    <a:pt x="1449" y="736"/>
                    <a:pt x="1449" y="736"/>
                  </a:cubicBezTo>
                  <a:cubicBezTo>
                    <a:pt x="1449" y="926"/>
                    <a:pt x="1375" y="1098"/>
                    <a:pt x="1255" y="1225"/>
                  </a:cubicBezTo>
                  <a:cubicBezTo>
                    <a:pt x="1125" y="1363"/>
                    <a:pt x="941" y="1449"/>
                    <a:pt x="737" y="1449"/>
                  </a:cubicBezTo>
                  <a:cubicBezTo>
                    <a:pt x="532" y="1449"/>
                    <a:pt x="348" y="1363"/>
                    <a:pt x="219" y="1225"/>
                  </a:cubicBezTo>
                  <a:cubicBezTo>
                    <a:pt x="98" y="1098"/>
                    <a:pt x="24" y="926"/>
                    <a:pt x="24" y="736"/>
                  </a:cubicBezTo>
                  <a:cubicBezTo>
                    <a:pt x="24" y="540"/>
                    <a:pt x="104" y="362"/>
                    <a:pt x="233" y="233"/>
                  </a:cubicBezTo>
                  <a:cubicBezTo>
                    <a:pt x="362" y="104"/>
                    <a:pt x="540" y="24"/>
                    <a:pt x="737" y="24"/>
                  </a:cubicBezTo>
                  <a:cubicBezTo>
                    <a:pt x="933" y="24"/>
                    <a:pt x="1111" y="104"/>
                    <a:pt x="1240" y="233"/>
                  </a:cubicBezTo>
                  <a:cubicBezTo>
                    <a:pt x="1369" y="362"/>
                    <a:pt x="1449" y="540"/>
                    <a:pt x="1449" y="736"/>
                  </a:cubicBezTo>
                  <a:cubicBezTo>
                    <a:pt x="1461" y="736"/>
                    <a:pt x="1461" y="736"/>
                    <a:pt x="1461" y="736"/>
                  </a:cubicBezTo>
                  <a:cubicBezTo>
                    <a:pt x="1473" y="736"/>
                    <a:pt x="1473" y="736"/>
                    <a:pt x="1473" y="736"/>
                  </a:cubicBezTo>
                  <a:cubicBezTo>
                    <a:pt x="1473" y="330"/>
                    <a:pt x="1143" y="0"/>
                    <a:pt x="737" y="0"/>
                  </a:cubicBezTo>
                  <a:cubicBezTo>
                    <a:pt x="330" y="0"/>
                    <a:pt x="0" y="330"/>
                    <a:pt x="0" y="736"/>
                  </a:cubicBezTo>
                  <a:cubicBezTo>
                    <a:pt x="0" y="932"/>
                    <a:pt x="77" y="1110"/>
                    <a:pt x="201" y="1242"/>
                  </a:cubicBezTo>
                  <a:cubicBezTo>
                    <a:pt x="335" y="1384"/>
                    <a:pt x="526" y="1473"/>
                    <a:pt x="737" y="1473"/>
                  </a:cubicBezTo>
                  <a:cubicBezTo>
                    <a:pt x="948" y="1473"/>
                    <a:pt x="1138" y="1384"/>
                    <a:pt x="1272" y="1242"/>
                  </a:cubicBezTo>
                  <a:cubicBezTo>
                    <a:pt x="1397" y="1110"/>
                    <a:pt x="1473" y="932"/>
                    <a:pt x="1473" y="736"/>
                  </a:cubicBezTo>
                  <a:cubicBezTo>
                    <a:pt x="1461" y="736"/>
                    <a:pt x="1461" y="736"/>
                    <a:pt x="1461" y="736"/>
                  </a:cubicBezTo>
                </a:path>
              </a:pathLst>
            </a:custGeom>
            <a:solidFill>
              <a:srgbClr val="7AC2F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8" name="Freeform 88">
              <a:extLst>
                <a:ext uri="{FF2B5EF4-FFF2-40B4-BE49-F238E27FC236}">
                  <a16:creationId xmlns:a16="http://schemas.microsoft.com/office/drawing/2014/main" id="{C379A26A-8A8E-4DDC-84AB-2FA394940093}"/>
                </a:ext>
              </a:extLst>
            </p:cNvPr>
            <p:cNvSpPr>
              <a:spLocks/>
            </p:cNvSpPr>
            <p:nvPr/>
          </p:nvSpPr>
          <p:spPr bwMode="auto">
            <a:xfrm>
              <a:off x="5555108" y="2978174"/>
              <a:ext cx="990674" cy="214362"/>
            </a:xfrm>
            <a:custGeom>
              <a:avLst/>
              <a:gdLst>
                <a:gd name="T0" fmla="*/ 1053 w 1053"/>
                <a:gd name="T1" fmla="*/ 0 h 228"/>
                <a:gd name="T2" fmla="*/ 527 w 1053"/>
                <a:gd name="T3" fmla="*/ 228 h 228"/>
                <a:gd name="T4" fmla="*/ 0 w 1053"/>
                <a:gd name="T5" fmla="*/ 0 h 228"/>
                <a:gd name="T6" fmla="*/ 1053 w 1053"/>
                <a:gd name="T7" fmla="*/ 0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53" h="228">
                  <a:moveTo>
                    <a:pt x="1053" y="0"/>
                  </a:moveTo>
                  <a:cubicBezTo>
                    <a:pt x="921" y="140"/>
                    <a:pt x="734" y="228"/>
                    <a:pt x="527" y="228"/>
                  </a:cubicBezTo>
                  <a:cubicBezTo>
                    <a:pt x="319" y="228"/>
                    <a:pt x="132" y="140"/>
                    <a:pt x="0" y="0"/>
                  </a:cubicBezTo>
                  <a:cubicBezTo>
                    <a:pt x="1053" y="0"/>
                    <a:pt x="1053" y="0"/>
                    <a:pt x="1053" y="0"/>
                  </a:cubicBezTo>
                </a:path>
              </a:pathLst>
            </a:custGeom>
            <a:solidFill>
              <a:srgbClr val="AFDA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9" name="Freeform 89">
              <a:extLst>
                <a:ext uri="{FF2B5EF4-FFF2-40B4-BE49-F238E27FC236}">
                  <a16:creationId xmlns:a16="http://schemas.microsoft.com/office/drawing/2014/main" id="{D083AB2F-6BDC-4CB4-B761-6C7CCEBCC81F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088" y="2966654"/>
              <a:ext cx="1014714" cy="236900"/>
            </a:xfrm>
            <a:custGeom>
              <a:avLst/>
              <a:gdLst>
                <a:gd name="T0" fmla="*/ 1066 w 1079"/>
                <a:gd name="T1" fmla="*/ 12 h 252"/>
                <a:gd name="T2" fmla="*/ 1058 w 1079"/>
                <a:gd name="T3" fmla="*/ 4 h 252"/>
                <a:gd name="T4" fmla="*/ 540 w 1079"/>
                <a:gd name="T5" fmla="*/ 228 h 252"/>
                <a:gd name="T6" fmla="*/ 22 w 1079"/>
                <a:gd name="T7" fmla="*/ 4 h 252"/>
                <a:gd name="T8" fmla="*/ 13 w 1079"/>
                <a:gd name="T9" fmla="*/ 12 h 252"/>
                <a:gd name="T10" fmla="*/ 13 w 1079"/>
                <a:gd name="T11" fmla="*/ 24 h 252"/>
                <a:gd name="T12" fmla="*/ 1066 w 1079"/>
                <a:gd name="T13" fmla="*/ 24 h 252"/>
                <a:gd name="T14" fmla="*/ 1066 w 1079"/>
                <a:gd name="T15" fmla="*/ 12 h 252"/>
                <a:gd name="T16" fmla="*/ 1058 w 1079"/>
                <a:gd name="T17" fmla="*/ 4 h 252"/>
                <a:gd name="T18" fmla="*/ 1066 w 1079"/>
                <a:gd name="T19" fmla="*/ 12 h 252"/>
                <a:gd name="T20" fmla="*/ 1066 w 1079"/>
                <a:gd name="T21" fmla="*/ 0 h 252"/>
                <a:gd name="T22" fmla="*/ 13 w 1079"/>
                <a:gd name="T23" fmla="*/ 0 h 252"/>
                <a:gd name="T24" fmla="*/ 2 w 1079"/>
                <a:gd name="T25" fmla="*/ 8 h 252"/>
                <a:gd name="T26" fmla="*/ 4 w 1079"/>
                <a:gd name="T27" fmla="*/ 21 h 252"/>
                <a:gd name="T28" fmla="*/ 540 w 1079"/>
                <a:gd name="T29" fmla="*/ 252 h 252"/>
                <a:gd name="T30" fmla="*/ 1075 w 1079"/>
                <a:gd name="T31" fmla="*/ 21 h 252"/>
                <a:gd name="T32" fmla="*/ 1077 w 1079"/>
                <a:gd name="T33" fmla="*/ 8 h 252"/>
                <a:gd name="T34" fmla="*/ 1066 w 1079"/>
                <a:gd name="T35" fmla="*/ 0 h 252"/>
                <a:gd name="T36" fmla="*/ 1066 w 1079"/>
                <a:gd name="T37" fmla="*/ 12 h 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079" h="252">
                  <a:moveTo>
                    <a:pt x="1066" y="12"/>
                  </a:moveTo>
                  <a:cubicBezTo>
                    <a:pt x="1058" y="4"/>
                    <a:pt x="1058" y="4"/>
                    <a:pt x="1058" y="4"/>
                  </a:cubicBezTo>
                  <a:cubicBezTo>
                    <a:pt x="928" y="142"/>
                    <a:pt x="744" y="228"/>
                    <a:pt x="540" y="228"/>
                  </a:cubicBezTo>
                  <a:cubicBezTo>
                    <a:pt x="335" y="228"/>
                    <a:pt x="151" y="142"/>
                    <a:pt x="22" y="4"/>
                  </a:cubicBezTo>
                  <a:cubicBezTo>
                    <a:pt x="13" y="12"/>
                    <a:pt x="13" y="12"/>
                    <a:pt x="13" y="12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066" y="24"/>
                    <a:pt x="1066" y="24"/>
                    <a:pt x="1066" y="24"/>
                  </a:cubicBezTo>
                  <a:cubicBezTo>
                    <a:pt x="1066" y="12"/>
                    <a:pt x="1066" y="12"/>
                    <a:pt x="1066" y="12"/>
                  </a:cubicBezTo>
                  <a:cubicBezTo>
                    <a:pt x="1058" y="4"/>
                    <a:pt x="1058" y="4"/>
                    <a:pt x="1058" y="4"/>
                  </a:cubicBezTo>
                  <a:cubicBezTo>
                    <a:pt x="1066" y="12"/>
                    <a:pt x="1066" y="12"/>
                    <a:pt x="1066" y="12"/>
                  </a:cubicBezTo>
                  <a:cubicBezTo>
                    <a:pt x="1066" y="0"/>
                    <a:pt x="1066" y="0"/>
                    <a:pt x="1066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8" y="0"/>
                    <a:pt x="4" y="3"/>
                    <a:pt x="2" y="8"/>
                  </a:cubicBezTo>
                  <a:cubicBezTo>
                    <a:pt x="0" y="12"/>
                    <a:pt x="1" y="17"/>
                    <a:pt x="4" y="21"/>
                  </a:cubicBezTo>
                  <a:cubicBezTo>
                    <a:pt x="138" y="163"/>
                    <a:pt x="329" y="252"/>
                    <a:pt x="540" y="252"/>
                  </a:cubicBezTo>
                  <a:cubicBezTo>
                    <a:pt x="751" y="252"/>
                    <a:pt x="941" y="163"/>
                    <a:pt x="1075" y="21"/>
                  </a:cubicBezTo>
                  <a:cubicBezTo>
                    <a:pt x="1078" y="17"/>
                    <a:pt x="1079" y="12"/>
                    <a:pt x="1077" y="8"/>
                  </a:cubicBezTo>
                  <a:cubicBezTo>
                    <a:pt x="1076" y="3"/>
                    <a:pt x="1071" y="0"/>
                    <a:pt x="1066" y="0"/>
                  </a:cubicBezTo>
                  <a:cubicBezTo>
                    <a:pt x="1066" y="12"/>
                    <a:pt x="1066" y="12"/>
                    <a:pt x="1066" y="12"/>
                  </a:cubicBezTo>
                </a:path>
              </a:pathLst>
            </a:custGeom>
            <a:solidFill>
              <a:srgbClr val="7AC2F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0" name="Freeform 90">
              <a:extLst>
                <a:ext uri="{FF2B5EF4-FFF2-40B4-BE49-F238E27FC236}">
                  <a16:creationId xmlns:a16="http://schemas.microsoft.com/office/drawing/2014/main" id="{0C9480A9-EA90-4B04-ABD6-F0F7A7B2E5BB}"/>
                </a:ext>
              </a:extLst>
            </p:cNvPr>
            <p:cNvSpPr>
              <a:spLocks/>
            </p:cNvSpPr>
            <p:nvPr/>
          </p:nvSpPr>
          <p:spPr bwMode="auto">
            <a:xfrm>
              <a:off x="5930743" y="2772827"/>
              <a:ext cx="266951" cy="159770"/>
            </a:xfrm>
            <a:custGeom>
              <a:avLst/>
              <a:gdLst>
                <a:gd name="T0" fmla="*/ 67 w 533"/>
                <a:gd name="T1" fmla="*/ 0 h 319"/>
                <a:gd name="T2" fmla="*/ 465 w 533"/>
                <a:gd name="T3" fmla="*/ 0 h 319"/>
                <a:gd name="T4" fmla="*/ 533 w 533"/>
                <a:gd name="T5" fmla="*/ 319 h 319"/>
                <a:gd name="T6" fmla="*/ 0 w 533"/>
                <a:gd name="T7" fmla="*/ 319 h 319"/>
                <a:gd name="T8" fmla="*/ 67 w 533"/>
                <a:gd name="T9" fmla="*/ 0 h 3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3" h="319">
                  <a:moveTo>
                    <a:pt x="67" y="0"/>
                  </a:moveTo>
                  <a:lnTo>
                    <a:pt x="465" y="0"/>
                  </a:lnTo>
                  <a:lnTo>
                    <a:pt x="533" y="319"/>
                  </a:lnTo>
                  <a:lnTo>
                    <a:pt x="0" y="319"/>
                  </a:lnTo>
                  <a:lnTo>
                    <a:pt x="6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1" name="Freeform 91">
              <a:extLst>
                <a:ext uri="{FF2B5EF4-FFF2-40B4-BE49-F238E27FC236}">
                  <a16:creationId xmlns:a16="http://schemas.microsoft.com/office/drawing/2014/main" id="{0008157F-50EF-4617-90BD-04CD457B0F47}"/>
                </a:ext>
              </a:extLst>
            </p:cNvPr>
            <p:cNvSpPr>
              <a:spLocks/>
            </p:cNvSpPr>
            <p:nvPr/>
          </p:nvSpPr>
          <p:spPr bwMode="auto">
            <a:xfrm>
              <a:off x="5919223" y="2761808"/>
              <a:ext cx="290491" cy="182308"/>
            </a:xfrm>
            <a:custGeom>
              <a:avLst/>
              <a:gdLst>
                <a:gd name="T0" fmla="*/ 48 w 309"/>
                <a:gd name="T1" fmla="*/ 12 h 194"/>
                <a:gd name="T2" fmla="*/ 48 w 309"/>
                <a:gd name="T3" fmla="*/ 24 h 194"/>
                <a:gd name="T4" fmla="*/ 250 w 309"/>
                <a:gd name="T5" fmla="*/ 24 h 194"/>
                <a:gd name="T6" fmla="*/ 281 w 309"/>
                <a:gd name="T7" fmla="*/ 170 h 194"/>
                <a:gd name="T8" fmla="*/ 27 w 309"/>
                <a:gd name="T9" fmla="*/ 170 h 194"/>
                <a:gd name="T10" fmla="*/ 60 w 309"/>
                <a:gd name="T11" fmla="*/ 14 h 194"/>
                <a:gd name="T12" fmla="*/ 48 w 309"/>
                <a:gd name="T13" fmla="*/ 12 h 194"/>
                <a:gd name="T14" fmla="*/ 48 w 309"/>
                <a:gd name="T15" fmla="*/ 24 h 194"/>
                <a:gd name="T16" fmla="*/ 48 w 309"/>
                <a:gd name="T17" fmla="*/ 12 h 194"/>
                <a:gd name="T18" fmla="*/ 36 w 309"/>
                <a:gd name="T19" fmla="*/ 9 h 194"/>
                <a:gd name="T20" fmla="*/ 0 w 309"/>
                <a:gd name="T21" fmla="*/ 179 h 194"/>
                <a:gd name="T22" fmla="*/ 3 w 309"/>
                <a:gd name="T23" fmla="*/ 189 h 194"/>
                <a:gd name="T24" fmla="*/ 12 w 309"/>
                <a:gd name="T25" fmla="*/ 194 h 194"/>
                <a:gd name="T26" fmla="*/ 296 w 309"/>
                <a:gd name="T27" fmla="*/ 194 h 194"/>
                <a:gd name="T28" fmla="*/ 305 w 309"/>
                <a:gd name="T29" fmla="*/ 189 h 194"/>
                <a:gd name="T30" fmla="*/ 308 w 309"/>
                <a:gd name="T31" fmla="*/ 179 h 194"/>
                <a:gd name="T32" fmla="*/ 272 w 309"/>
                <a:gd name="T33" fmla="*/ 9 h 194"/>
                <a:gd name="T34" fmla="*/ 260 w 309"/>
                <a:gd name="T35" fmla="*/ 0 h 194"/>
                <a:gd name="T36" fmla="*/ 48 w 309"/>
                <a:gd name="T37" fmla="*/ 0 h 194"/>
                <a:gd name="T38" fmla="*/ 36 w 309"/>
                <a:gd name="T39" fmla="*/ 9 h 194"/>
                <a:gd name="T40" fmla="*/ 48 w 309"/>
                <a:gd name="T41" fmla="*/ 12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09" h="194">
                  <a:moveTo>
                    <a:pt x="48" y="12"/>
                  </a:moveTo>
                  <a:cubicBezTo>
                    <a:pt x="48" y="24"/>
                    <a:pt x="48" y="24"/>
                    <a:pt x="48" y="24"/>
                  </a:cubicBezTo>
                  <a:cubicBezTo>
                    <a:pt x="250" y="24"/>
                    <a:pt x="250" y="24"/>
                    <a:pt x="250" y="24"/>
                  </a:cubicBezTo>
                  <a:cubicBezTo>
                    <a:pt x="281" y="170"/>
                    <a:pt x="281" y="170"/>
                    <a:pt x="281" y="170"/>
                  </a:cubicBezTo>
                  <a:cubicBezTo>
                    <a:pt x="27" y="170"/>
                    <a:pt x="27" y="170"/>
                    <a:pt x="27" y="170"/>
                  </a:cubicBezTo>
                  <a:cubicBezTo>
                    <a:pt x="60" y="14"/>
                    <a:pt x="60" y="14"/>
                    <a:pt x="60" y="14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48" y="24"/>
                    <a:pt x="48" y="24"/>
                    <a:pt x="48" y="24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36" y="9"/>
                    <a:pt x="36" y="9"/>
                    <a:pt x="36" y="9"/>
                  </a:cubicBezTo>
                  <a:cubicBezTo>
                    <a:pt x="0" y="179"/>
                    <a:pt x="0" y="179"/>
                    <a:pt x="0" y="179"/>
                  </a:cubicBezTo>
                  <a:cubicBezTo>
                    <a:pt x="0" y="183"/>
                    <a:pt x="1" y="186"/>
                    <a:pt x="3" y="189"/>
                  </a:cubicBezTo>
                  <a:cubicBezTo>
                    <a:pt x="5" y="192"/>
                    <a:pt x="9" y="194"/>
                    <a:pt x="12" y="194"/>
                  </a:cubicBezTo>
                  <a:cubicBezTo>
                    <a:pt x="296" y="194"/>
                    <a:pt x="296" y="194"/>
                    <a:pt x="296" y="194"/>
                  </a:cubicBezTo>
                  <a:cubicBezTo>
                    <a:pt x="300" y="194"/>
                    <a:pt x="303" y="192"/>
                    <a:pt x="305" y="189"/>
                  </a:cubicBezTo>
                  <a:cubicBezTo>
                    <a:pt x="308" y="186"/>
                    <a:pt x="309" y="183"/>
                    <a:pt x="308" y="179"/>
                  </a:cubicBezTo>
                  <a:cubicBezTo>
                    <a:pt x="272" y="9"/>
                    <a:pt x="272" y="9"/>
                    <a:pt x="272" y="9"/>
                  </a:cubicBezTo>
                  <a:cubicBezTo>
                    <a:pt x="271" y="4"/>
                    <a:pt x="266" y="0"/>
                    <a:pt x="260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42" y="0"/>
                    <a:pt x="38" y="4"/>
                    <a:pt x="36" y="9"/>
                  </a:cubicBezTo>
                  <a:lnTo>
                    <a:pt x="48" y="12"/>
                  </a:lnTo>
                  <a:close/>
                </a:path>
              </a:pathLst>
            </a:custGeom>
            <a:solidFill>
              <a:srgbClr val="7AC2F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2" name="Freeform 92">
              <a:extLst>
                <a:ext uri="{FF2B5EF4-FFF2-40B4-BE49-F238E27FC236}">
                  <a16:creationId xmlns:a16="http://schemas.microsoft.com/office/drawing/2014/main" id="{D61BFAA6-FE39-4E09-9192-3B9F85B7CA06}"/>
                </a:ext>
              </a:extLst>
            </p:cNvPr>
            <p:cNvSpPr>
              <a:spLocks/>
            </p:cNvSpPr>
            <p:nvPr/>
          </p:nvSpPr>
          <p:spPr bwMode="auto">
            <a:xfrm>
              <a:off x="5466730" y="1968718"/>
              <a:ext cx="1190011" cy="855946"/>
            </a:xfrm>
            <a:custGeom>
              <a:avLst/>
              <a:gdLst>
                <a:gd name="T0" fmla="*/ 1265 w 1265"/>
                <a:gd name="T1" fmla="*/ 78 h 910"/>
                <a:gd name="T2" fmla="*/ 1265 w 1265"/>
                <a:gd name="T3" fmla="*/ 832 h 910"/>
                <a:gd name="T4" fmla="*/ 1187 w 1265"/>
                <a:gd name="T5" fmla="*/ 910 h 910"/>
                <a:gd name="T6" fmla="*/ 78 w 1265"/>
                <a:gd name="T7" fmla="*/ 910 h 910"/>
                <a:gd name="T8" fmla="*/ 0 w 1265"/>
                <a:gd name="T9" fmla="*/ 832 h 910"/>
                <a:gd name="T10" fmla="*/ 0 w 1265"/>
                <a:gd name="T11" fmla="*/ 78 h 910"/>
                <a:gd name="T12" fmla="*/ 78 w 1265"/>
                <a:gd name="T13" fmla="*/ 0 h 910"/>
                <a:gd name="T14" fmla="*/ 1187 w 1265"/>
                <a:gd name="T15" fmla="*/ 0 h 910"/>
                <a:gd name="T16" fmla="*/ 1265 w 1265"/>
                <a:gd name="T17" fmla="*/ 78 h 9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65" h="910">
                  <a:moveTo>
                    <a:pt x="1265" y="78"/>
                  </a:moveTo>
                  <a:cubicBezTo>
                    <a:pt x="1265" y="832"/>
                    <a:pt x="1265" y="832"/>
                    <a:pt x="1265" y="832"/>
                  </a:cubicBezTo>
                  <a:cubicBezTo>
                    <a:pt x="1265" y="875"/>
                    <a:pt x="1230" y="910"/>
                    <a:pt x="1187" y="910"/>
                  </a:cubicBezTo>
                  <a:cubicBezTo>
                    <a:pt x="78" y="910"/>
                    <a:pt x="78" y="910"/>
                    <a:pt x="78" y="910"/>
                  </a:cubicBezTo>
                  <a:cubicBezTo>
                    <a:pt x="35" y="910"/>
                    <a:pt x="0" y="875"/>
                    <a:pt x="0" y="832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35"/>
                    <a:pt x="35" y="0"/>
                    <a:pt x="78" y="0"/>
                  </a:cubicBezTo>
                  <a:cubicBezTo>
                    <a:pt x="1187" y="0"/>
                    <a:pt x="1187" y="0"/>
                    <a:pt x="1187" y="0"/>
                  </a:cubicBezTo>
                  <a:cubicBezTo>
                    <a:pt x="1230" y="0"/>
                    <a:pt x="1265" y="35"/>
                    <a:pt x="1265" y="78"/>
                  </a:cubicBezTo>
                </a:path>
              </a:pathLst>
            </a:custGeom>
            <a:solidFill>
              <a:srgbClr val="E4F3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3" name="Freeform 93">
              <a:extLst>
                <a:ext uri="{FF2B5EF4-FFF2-40B4-BE49-F238E27FC236}">
                  <a16:creationId xmlns:a16="http://schemas.microsoft.com/office/drawing/2014/main" id="{785D87E3-A055-4C98-963A-1EA0291A92BF}"/>
                </a:ext>
              </a:extLst>
            </p:cNvPr>
            <p:cNvSpPr>
              <a:spLocks/>
            </p:cNvSpPr>
            <p:nvPr/>
          </p:nvSpPr>
          <p:spPr bwMode="auto">
            <a:xfrm>
              <a:off x="5443920" y="1963459"/>
              <a:ext cx="1213049" cy="877984"/>
            </a:xfrm>
            <a:custGeom>
              <a:avLst/>
              <a:gdLst>
                <a:gd name="T0" fmla="*/ 1277 w 1289"/>
                <a:gd name="T1" fmla="*/ 90 h 934"/>
                <a:gd name="T2" fmla="*/ 1265 w 1289"/>
                <a:gd name="T3" fmla="*/ 90 h 934"/>
                <a:gd name="T4" fmla="*/ 1265 w 1289"/>
                <a:gd name="T5" fmla="*/ 844 h 934"/>
                <a:gd name="T6" fmla="*/ 1246 w 1289"/>
                <a:gd name="T7" fmla="*/ 891 h 934"/>
                <a:gd name="T8" fmla="*/ 1199 w 1289"/>
                <a:gd name="T9" fmla="*/ 910 h 934"/>
                <a:gd name="T10" fmla="*/ 90 w 1289"/>
                <a:gd name="T11" fmla="*/ 910 h 934"/>
                <a:gd name="T12" fmla="*/ 43 w 1289"/>
                <a:gd name="T13" fmla="*/ 891 h 934"/>
                <a:gd name="T14" fmla="*/ 24 w 1289"/>
                <a:gd name="T15" fmla="*/ 844 h 934"/>
                <a:gd name="T16" fmla="*/ 24 w 1289"/>
                <a:gd name="T17" fmla="*/ 90 h 934"/>
                <a:gd name="T18" fmla="*/ 43 w 1289"/>
                <a:gd name="T19" fmla="*/ 43 h 934"/>
                <a:gd name="T20" fmla="*/ 90 w 1289"/>
                <a:gd name="T21" fmla="*/ 24 h 934"/>
                <a:gd name="T22" fmla="*/ 1199 w 1289"/>
                <a:gd name="T23" fmla="*/ 24 h 934"/>
                <a:gd name="T24" fmla="*/ 1246 w 1289"/>
                <a:gd name="T25" fmla="*/ 43 h 934"/>
                <a:gd name="T26" fmla="*/ 1265 w 1289"/>
                <a:gd name="T27" fmla="*/ 90 h 934"/>
                <a:gd name="T28" fmla="*/ 1277 w 1289"/>
                <a:gd name="T29" fmla="*/ 90 h 934"/>
                <a:gd name="T30" fmla="*/ 1289 w 1289"/>
                <a:gd name="T31" fmla="*/ 90 h 934"/>
                <a:gd name="T32" fmla="*/ 1263 w 1289"/>
                <a:gd name="T33" fmla="*/ 27 h 934"/>
                <a:gd name="T34" fmla="*/ 1199 w 1289"/>
                <a:gd name="T35" fmla="*/ 0 h 934"/>
                <a:gd name="T36" fmla="*/ 90 w 1289"/>
                <a:gd name="T37" fmla="*/ 0 h 934"/>
                <a:gd name="T38" fmla="*/ 26 w 1289"/>
                <a:gd name="T39" fmla="*/ 27 h 934"/>
                <a:gd name="T40" fmla="*/ 0 w 1289"/>
                <a:gd name="T41" fmla="*/ 90 h 934"/>
                <a:gd name="T42" fmla="*/ 0 w 1289"/>
                <a:gd name="T43" fmla="*/ 844 h 934"/>
                <a:gd name="T44" fmla="*/ 26 w 1289"/>
                <a:gd name="T45" fmla="*/ 908 h 934"/>
                <a:gd name="T46" fmla="*/ 90 w 1289"/>
                <a:gd name="T47" fmla="*/ 934 h 934"/>
                <a:gd name="T48" fmla="*/ 1199 w 1289"/>
                <a:gd name="T49" fmla="*/ 934 h 934"/>
                <a:gd name="T50" fmla="*/ 1263 w 1289"/>
                <a:gd name="T51" fmla="*/ 908 h 934"/>
                <a:gd name="T52" fmla="*/ 1289 w 1289"/>
                <a:gd name="T53" fmla="*/ 844 h 934"/>
                <a:gd name="T54" fmla="*/ 1289 w 1289"/>
                <a:gd name="T55" fmla="*/ 90 h 934"/>
                <a:gd name="T56" fmla="*/ 1277 w 1289"/>
                <a:gd name="T57" fmla="*/ 90 h 9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289" h="934">
                  <a:moveTo>
                    <a:pt x="1277" y="90"/>
                  </a:moveTo>
                  <a:cubicBezTo>
                    <a:pt x="1265" y="90"/>
                    <a:pt x="1265" y="90"/>
                    <a:pt x="1265" y="90"/>
                  </a:cubicBezTo>
                  <a:cubicBezTo>
                    <a:pt x="1265" y="844"/>
                    <a:pt x="1265" y="844"/>
                    <a:pt x="1265" y="844"/>
                  </a:cubicBezTo>
                  <a:cubicBezTo>
                    <a:pt x="1265" y="862"/>
                    <a:pt x="1258" y="879"/>
                    <a:pt x="1246" y="891"/>
                  </a:cubicBezTo>
                  <a:cubicBezTo>
                    <a:pt x="1234" y="903"/>
                    <a:pt x="1217" y="910"/>
                    <a:pt x="1199" y="910"/>
                  </a:cubicBezTo>
                  <a:cubicBezTo>
                    <a:pt x="90" y="910"/>
                    <a:pt x="90" y="910"/>
                    <a:pt x="90" y="910"/>
                  </a:cubicBezTo>
                  <a:cubicBezTo>
                    <a:pt x="72" y="910"/>
                    <a:pt x="55" y="903"/>
                    <a:pt x="43" y="891"/>
                  </a:cubicBezTo>
                  <a:cubicBezTo>
                    <a:pt x="31" y="879"/>
                    <a:pt x="24" y="862"/>
                    <a:pt x="24" y="844"/>
                  </a:cubicBezTo>
                  <a:cubicBezTo>
                    <a:pt x="24" y="90"/>
                    <a:pt x="24" y="90"/>
                    <a:pt x="24" y="90"/>
                  </a:cubicBezTo>
                  <a:cubicBezTo>
                    <a:pt x="24" y="72"/>
                    <a:pt x="31" y="55"/>
                    <a:pt x="43" y="43"/>
                  </a:cubicBezTo>
                  <a:cubicBezTo>
                    <a:pt x="55" y="32"/>
                    <a:pt x="72" y="24"/>
                    <a:pt x="90" y="24"/>
                  </a:cubicBezTo>
                  <a:cubicBezTo>
                    <a:pt x="1199" y="24"/>
                    <a:pt x="1199" y="24"/>
                    <a:pt x="1199" y="24"/>
                  </a:cubicBezTo>
                  <a:cubicBezTo>
                    <a:pt x="1217" y="24"/>
                    <a:pt x="1234" y="32"/>
                    <a:pt x="1246" y="43"/>
                  </a:cubicBezTo>
                  <a:cubicBezTo>
                    <a:pt x="1258" y="55"/>
                    <a:pt x="1265" y="72"/>
                    <a:pt x="1265" y="90"/>
                  </a:cubicBezTo>
                  <a:cubicBezTo>
                    <a:pt x="1277" y="90"/>
                    <a:pt x="1277" y="90"/>
                    <a:pt x="1277" y="90"/>
                  </a:cubicBezTo>
                  <a:cubicBezTo>
                    <a:pt x="1289" y="90"/>
                    <a:pt x="1289" y="90"/>
                    <a:pt x="1289" y="90"/>
                  </a:cubicBezTo>
                  <a:cubicBezTo>
                    <a:pt x="1289" y="65"/>
                    <a:pt x="1279" y="43"/>
                    <a:pt x="1263" y="27"/>
                  </a:cubicBezTo>
                  <a:cubicBezTo>
                    <a:pt x="1247" y="10"/>
                    <a:pt x="1224" y="0"/>
                    <a:pt x="1199" y="0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65" y="0"/>
                    <a:pt x="43" y="10"/>
                    <a:pt x="26" y="27"/>
                  </a:cubicBezTo>
                  <a:cubicBezTo>
                    <a:pt x="10" y="43"/>
                    <a:pt x="0" y="65"/>
                    <a:pt x="0" y="90"/>
                  </a:cubicBezTo>
                  <a:cubicBezTo>
                    <a:pt x="0" y="844"/>
                    <a:pt x="0" y="844"/>
                    <a:pt x="0" y="844"/>
                  </a:cubicBezTo>
                  <a:cubicBezTo>
                    <a:pt x="0" y="869"/>
                    <a:pt x="10" y="891"/>
                    <a:pt x="26" y="908"/>
                  </a:cubicBezTo>
                  <a:cubicBezTo>
                    <a:pt x="43" y="924"/>
                    <a:pt x="65" y="934"/>
                    <a:pt x="90" y="934"/>
                  </a:cubicBezTo>
                  <a:cubicBezTo>
                    <a:pt x="1199" y="934"/>
                    <a:pt x="1199" y="934"/>
                    <a:pt x="1199" y="934"/>
                  </a:cubicBezTo>
                  <a:cubicBezTo>
                    <a:pt x="1224" y="934"/>
                    <a:pt x="1247" y="924"/>
                    <a:pt x="1263" y="908"/>
                  </a:cubicBezTo>
                  <a:cubicBezTo>
                    <a:pt x="1279" y="891"/>
                    <a:pt x="1289" y="869"/>
                    <a:pt x="1289" y="844"/>
                  </a:cubicBezTo>
                  <a:cubicBezTo>
                    <a:pt x="1289" y="90"/>
                    <a:pt x="1289" y="90"/>
                    <a:pt x="1289" y="90"/>
                  </a:cubicBezTo>
                  <a:cubicBezTo>
                    <a:pt x="1277" y="90"/>
                    <a:pt x="1277" y="90"/>
                    <a:pt x="1277" y="90"/>
                  </a:cubicBezTo>
                </a:path>
              </a:pathLst>
            </a:custGeom>
            <a:solidFill>
              <a:srgbClr val="7AC2F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4" name="Freeform 96">
              <a:extLst>
                <a:ext uri="{FF2B5EF4-FFF2-40B4-BE49-F238E27FC236}">
                  <a16:creationId xmlns:a16="http://schemas.microsoft.com/office/drawing/2014/main" id="{A706FEF7-5DA8-4B9C-98FE-FDF8D9AC3A6F}"/>
                </a:ext>
              </a:extLst>
            </p:cNvPr>
            <p:cNvSpPr>
              <a:spLocks/>
            </p:cNvSpPr>
            <p:nvPr/>
          </p:nvSpPr>
          <p:spPr bwMode="auto">
            <a:xfrm>
              <a:off x="5455439" y="2670654"/>
              <a:ext cx="1190011" cy="159770"/>
            </a:xfrm>
            <a:custGeom>
              <a:avLst/>
              <a:gdLst>
                <a:gd name="T0" fmla="*/ 1265 w 1265"/>
                <a:gd name="T1" fmla="*/ 0 h 170"/>
                <a:gd name="T2" fmla="*/ 1265 w 1265"/>
                <a:gd name="T3" fmla="*/ 92 h 170"/>
                <a:gd name="T4" fmla="*/ 1187 w 1265"/>
                <a:gd name="T5" fmla="*/ 170 h 170"/>
                <a:gd name="T6" fmla="*/ 78 w 1265"/>
                <a:gd name="T7" fmla="*/ 170 h 170"/>
                <a:gd name="T8" fmla="*/ 0 w 1265"/>
                <a:gd name="T9" fmla="*/ 92 h 170"/>
                <a:gd name="T10" fmla="*/ 0 w 1265"/>
                <a:gd name="T11" fmla="*/ 0 h 170"/>
                <a:gd name="T12" fmla="*/ 1265 w 1265"/>
                <a:gd name="T13" fmla="*/ 0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65" h="170">
                  <a:moveTo>
                    <a:pt x="1265" y="0"/>
                  </a:moveTo>
                  <a:cubicBezTo>
                    <a:pt x="1265" y="92"/>
                    <a:pt x="1265" y="92"/>
                    <a:pt x="1265" y="92"/>
                  </a:cubicBezTo>
                  <a:cubicBezTo>
                    <a:pt x="1265" y="135"/>
                    <a:pt x="1230" y="170"/>
                    <a:pt x="1187" y="170"/>
                  </a:cubicBezTo>
                  <a:cubicBezTo>
                    <a:pt x="78" y="170"/>
                    <a:pt x="78" y="170"/>
                    <a:pt x="78" y="170"/>
                  </a:cubicBezTo>
                  <a:cubicBezTo>
                    <a:pt x="35" y="170"/>
                    <a:pt x="0" y="135"/>
                    <a:pt x="0" y="9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265" y="0"/>
                    <a:pt x="1265" y="0"/>
                    <a:pt x="1265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5" name="Freeform 97">
              <a:extLst>
                <a:ext uri="{FF2B5EF4-FFF2-40B4-BE49-F238E27FC236}">
                  <a16:creationId xmlns:a16="http://schemas.microsoft.com/office/drawing/2014/main" id="{37386908-16D8-4007-8723-414163C59CBB}"/>
                </a:ext>
              </a:extLst>
            </p:cNvPr>
            <p:cNvSpPr>
              <a:spLocks/>
            </p:cNvSpPr>
            <p:nvPr/>
          </p:nvSpPr>
          <p:spPr bwMode="auto">
            <a:xfrm>
              <a:off x="5443920" y="2659134"/>
              <a:ext cx="1213049" cy="182308"/>
            </a:xfrm>
            <a:custGeom>
              <a:avLst/>
              <a:gdLst>
                <a:gd name="T0" fmla="*/ 1277 w 1289"/>
                <a:gd name="T1" fmla="*/ 12 h 194"/>
                <a:gd name="T2" fmla="*/ 1265 w 1289"/>
                <a:gd name="T3" fmla="*/ 12 h 194"/>
                <a:gd name="T4" fmla="*/ 1265 w 1289"/>
                <a:gd name="T5" fmla="*/ 104 h 194"/>
                <a:gd name="T6" fmla="*/ 1246 w 1289"/>
                <a:gd name="T7" fmla="*/ 151 h 194"/>
                <a:gd name="T8" fmla="*/ 1199 w 1289"/>
                <a:gd name="T9" fmla="*/ 170 h 194"/>
                <a:gd name="T10" fmla="*/ 90 w 1289"/>
                <a:gd name="T11" fmla="*/ 170 h 194"/>
                <a:gd name="T12" fmla="*/ 43 w 1289"/>
                <a:gd name="T13" fmla="*/ 151 h 194"/>
                <a:gd name="T14" fmla="*/ 24 w 1289"/>
                <a:gd name="T15" fmla="*/ 104 h 194"/>
                <a:gd name="T16" fmla="*/ 24 w 1289"/>
                <a:gd name="T17" fmla="*/ 24 h 194"/>
                <a:gd name="T18" fmla="*/ 1277 w 1289"/>
                <a:gd name="T19" fmla="*/ 24 h 194"/>
                <a:gd name="T20" fmla="*/ 1277 w 1289"/>
                <a:gd name="T21" fmla="*/ 12 h 194"/>
                <a:gd name="T22" fmla="*/ 1265 w 1289"/>
                <a:gd name="T23" fmla="*/ 12 h 194"/>
                <a:gd name="T24" fmla="*/ 1277 w 1289"/>
                <a:gd name="T25" fmla="*/ 12 h 194"/>
                <a:gd name="T26" fmla="*/ 1277 w 1289"/>
                <a:gd name="T27" fmla="*/ 0 h 194"/>
                <a:gd name="T28" fmla="*/ 12 w 1289"/>
                <a:gd name="T29" fmla="*/ 0 h 194"/>
                <a:gd name="T30" fmla="*/ 4 w 1289"/>
                <a:gd name="T31" fmla="*/ 4 h 194"/>
                <a:gd name="T32" fmla="*/ 0 w 1289"/>
                <a:gd name="T33" fmla="*/ 12 h 194"/>
                <a:gd name="T34" fmla="*/ 0 w 1289"/>
                <a:gd name="T35" fmla="*/ 104 h 194"/>
                <a:gd name="T36" fmla="*/ 26 w 1289"/>
                <a:gd name="T37" fmla="*/ 168 h 194"/>
                <a:gd name="T38" fmla="*/ 90 w 1289"/>
                <a:gd name="T39" fmla="*/ 194 h 194"/>
                <a:gd name="T40" fmla="*/ 1199 w 1289"/>
                <a:gd name="T41" fmla="*/ 194 h 194"/>
                <a:gd name="T42" fmla="*/ 1263 w 1289"/>
                <a:gd name="T43" fmla="*/ 168 h 194"/>
                <a:gd name="T44" fmla="*/ 1289 w 1289"/>
                <a:gd name="T45" fmla="*/ 104 h 194"/>
                <a:gd name="T46" fmla="*/ 1289 w 1289"/>
                <a:gd name="T47" fmla="*/ 12 h 194"/>
                <a:gd name="T48" fmla="*/ 1286 w 1289"/>
                <a:gd name="T49" fmla="*/ 4 h 194"/>
                <a:gd name="T50" fmla="*/ 1277 w 1289"/>
                <a:gd name="T51" fmla="*/ 0 h 194"/>
                <a:gd name="T52" fmla="*/ 1277 w 1289"/>
                <a:gd name="T53" fmla="*/ 12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289" h="194">
                  <a:moveTo>
                    <a:pt x="1277" y="12"/>
                  </a:moveTo>
                  <a:cubicBezTo>
                    <a:pt x="1265" y="12"/>
                    <a:pt x="1265" y="12"/>
                    <a:pt x="1265" y="12"/>
                  </a:cubicBezTo>
                  <a:cubicBezTo>
                    <a:pt x="1265" y="104"/>
                    <a:pt x="1265" y="104"/>
                    <a:pt x="1265" y="104"/>
                  </a:cubicBezTo>
                  <a:cubicBezTo>
                    <a:pt x="1265" y="122"/>
                    <a:pt x="1258" y="139"/>
                    <a:pt x="1246" y="151"/>
                  </a:cubicBezTo>
                  <a:cubicBezTo>
                    <a:pt x="1234" y="163"/>
                    <a:pt x="1217" y="170"/>
                    <a:pt x="1199" y="170"/>
                  </a:cubicBezTo>
                  <a:cubicBezTo>
                    <a:pt x="90" y="170"/>
                    <a:pt x="90" y="170"/>
                    <a:pt x="90" y="170"/>
                  </a:cubicBezTo>
                  <a:cubicBezTo>
                    <a:pt x="72" y="170"/>
                    <a:pt x="55" y="163"/>
                    <a:pt x="43" y="151"/>
                  </a:cubicBezTo>
                  <a:cubicBezTo>
                    <a:pt x="31" y="139"/>
                    <a:pt x="24" y="122"/>
                    <a:pt x="24" y="10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1277" y="24"/>
                    <a:pt x="1277" y="24"/>
                    <a:pt x="1277" y="24"/>
                  </a:cubicBezTo>
                  <a:cubicBezTo>
                    <a:pt x="1277" y="12"/>
                    <a:pt x="1277" y="12"/>
                    <a:pt x="1277" y="12"/>
                  </a:cubicBezTo>
                  <a:cubicBezTo>
                    <a:pt x="1265" y="12"/>
                    <a:pt x="1265" y="12"/>
                    <a:pt x="1265" y="12"/>
                  </a:cubicBezTo>
                  <a:cubicBezTo>
                    <a:pt x="1277" y="12"/>
                    <a:pt x="1277" y="12"/>
                    <a:pt x="1277" y="12"/>
                  </a:cubicBezTo>
                  <a:cubicBezTo>
                    <a:pt x="1277" y="0"/>
                    <a:pt x="1277" y="0"/>
                    <a:pt x="1277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9" y="0"/>
                    <a:pt x="6" y="1"/>
                    <a:pt x="4" y="4"/>
                  </a:cubicBezTo>
                  <a:cubicBezTo>
                    <a:pt x="1" y="6"/>
                    <a:pt x="0" y="9"/>
                    <a:pt x="0" y="12"/>
                  </a:cubicBezTo>
                  <a:cubicBezTo>
                    <a:pt x="0" y="104"/>
                    <a:pt x="0" y="104"/>
                    <a:pt x="0" y="104"/>
                  </a:cubicBezTo>
                  <a:cubicBezTo>
                    <a:pt x="0" y="129"/>
                    <a:pt x="10" y="151"/>
                    <a:pt x="26" y="168"/>
                  </a:cubicBezTo>
                  <a:cubicBezTo>
                    <a:pt x="43" y="184"/>
                    <a:pt x="65" y="194"/>
                    <a:pt x="90" y="194"/>
                  </a:cubicBezTo>
                  <a:cubicBezTo>
                    <a:pt x="1199" y="194"/>
                    <a:pt x="1199" y="194"/>
                    <a:pt x="1199" y="194"/>
                  </a:cubicBezTo>
                  <a:cubicBezTo>
                    <a:pt x="1224" y="194"/>
                    <a:pt x="1247" y="184"/>
                    <a:pt x="1263" y="168"/>
                  </a:cubicBezTo>
                  <a:cubicBezTo>
                    <a:pt x="1279" y="151"/>
                    <a:pt x="1289" y="129"/>
                    <a:pt x="1289" y="104"/>
                  </a:cubicBezTo>
                  <a:cubicBezTo>
                    <a:pt x="1289" y="12"/>
                    <a:pt x="1289" y="12"/>
                    <a:pt x="1289" y="12"/>
                  </a:cubicBezTo>
                  <a:cubicBezTo>
                    <a:pt x="1289" y="9"/>
                    <a:pt x="1288" y="6"/>
                    <a:pt x="1286" y="4"/>
                  </a:cubicBezTo>
                  <a:cubicBezTo>
                    <a:pt x="1283" y="1"/>
                    <a:pt x="1280" y="0"/>
                    <a:pt x="1277" y="0"/>
                  </a:cubicBezTo>
                  <a:cubicBezTo>
                    <a:pt x="1277" y="12"/>
                    <a:pt x="1277" y="12"/>
                    <a:pt x="1277" y="12"/>
                  </a:cubicBezTo>
                </a:path>
              </a:pathLst>
            </a:custGeom>
            <a:solidFill>
              <a:srgbClr val="7AC2F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6" name="Oval 98">
              <a:extLst>
                <a:ext uri="{FF2B5EF4-FFF2-40B4-BE49-F238E27FC236}">
                  <a16:creationId xmlns:a16="http://schemas.microsoft.com/office/drawing/2014/main" id="{F988158C-0356-44FF-BA6D-FB9D3CD74B6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35920" y="2722241"/>
              <a:ext cx="56596" cy="56596"/>
            </a:xfrm>
            <a:prstGeom prst="ellipse">
              <a:avLst/>
            </a:prstGeom>
            <a:solidFill>
              <a:srgbClr val="AFDA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7" name="Rectangle 107">
              <a:extLst>
                <a:ext uri="{FF2B5EF4-FFF2-40B4-BE49-F238E27FC236}">
                  <a16:creationId xmlns:a16="http://schemas.microsoft.com/office/drawing/2014/main" id="{F02632B6-8F2C-4EA8-B770-3399A91E48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56116" y="2932596"/>
              <a:ext cx="415702" cy="45577"/>
            </a:xfrm>
            <a:prstGeom prst="rect">
              <a:avLst/>
            </a:prstGeom>
            <a:solidFill>
              <a:srgbClr val="E4F3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8" name="Freeform 108">
              <a:extLst>
                <a:ext uri="{FF2B5EF4-FFF2-40B4-BE49-F238E27FC236}">
                  <a16:creationId xmlns:a16="http://schemas.microsoft.com/office/drawing/2014/main" id="{FED9B4A5-F499-484A-B76E-5F34DBE56981}"/>
                </a:ext>
              </a:extLst>
            </p:cNvPr>
            <p:cNvSpPr>
              <a:spLocks/>
            </p:cNvSpPr>
            <p:nvPr/>
          </p:nvSpPr>
          <p:spPr bwMode="auto">
            <a:xfrm>
              <a:off x="5845098" y="2921578"/>
              <a:ext cx="438241" cy="67614"/>
            </a:xfrm>
            <a:custGeom>
              <a:avLst/>
              <a:gdLst>
                <a:gd name="T0" fmla="*/ 454 w 466"/>
                <a:gd name="T1" fmla="*/ 60 h 72"/>
                <a:gd name="T2" fmla="*/ 454 w 466"/>
                <a:gd name="T3" fmla="*/ 48 h 72"/>
                <a:gd name="T4" fmla="*/ 24 w 466"/>
                <a:gd name="T5" fmla="*/ 48 h 72"/>
                <a:gd name="T6" fmla="*/ 24 w 466"/>
                <a:gd name="T7" fmla="*/ 24 h 72"/>
                <a:gd name="T8" fmla="*/ 442 w 466"/>
                <a:gd name="T9" fmla="*/ 24 h 72"/>
                <a:gd name="T10" fmla="*/ 442 w 466"/>
                <a:gd name="T11" fmla="*/ 60 h 72"/>
                <a:gd name="T12" fmla="*/ 454 w 466"/>
                <a:gd name="T13" fmla="*/ 60 h 72"/>
                <a:gd name="T14" fmla="*/ 454 w 466"/>
                <a:gd name="T15" fmla="*/ 48 h 72"/>
                <a:gd name="T16" fmla="*/ 454 w 466"/>
                <a:gd name="T17" fmla="*/ 60 h 72"/>
                <a:gd name="T18" fmla="*/ 466 w 466"/>
                <a:gd name="T19" fmla="*/ 60 h 72"/>
                <a:gd name="T20" fmla="*/ 466 w 466"/>
                <a:gd name="T21" fmla="*/ 12 h 72"/>
                <a:gd name="T22" fmla="*/ 462 w 466"/>
                <a:gd name="T23" fmla="*/ 3 h 72"/>
                <a:gd name="T24" fmla="*/ 454 w 466"/>
                <a:gd name="T25" fmla="*/ 0 h 72"/>
                <a:gd name="T26" fmla="*/ 12 w 466"/>
                <a:gd name="T27" fmla="*/ 0 h 72"/>
                <a:gd name="T28" fmla="*/ 4 w 466"/>
                <a:gd name="T29" fmla="*/ 3 h 72"/>
                <a:gd name="T30" fmla="*/ 0 w 466"/>
                <a:gd name="T31" fmla="*/ 12 h 72"/>
                <a:gd name="T32" fmla="*/ 0 w 466"/>
                <a:gd name="T33" fmla="*/ 60 h 72"/>
                <a:gd name="T34" fmla="*/ 4 w 466"/>
                <a:gd name="T35" fmla="*/ 69 h 72"/>
                <a:gd name="T36" fmla="*/ 12 w 466"/>
                <a:gd name="T37" fmla="*/ 72 h 72"/>
                <a:gd name="T38" fmla="*/ 454 w 466"/>
                <a:gd name="T39" fmla="*/ 72 h 72"/>
                <a:gd name="T40" fmla="*/ 462 w 466"/>
                <a:gd name="T41" fmla="*/ 69 h 72"/>
                <a:gd name="T42" fmla="*/ 466 w 466"/>
                <a:gd name="T43" fmla="*/ 60 h 72"/>
                <a:gd name="T44" fmla="*/ 454 w 466"/>
                <a:gd name="T45" fmla="*/ 60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66" h="72">
                  <a:moveTo>
                    <a:pt x="454" y="60"/>
                  </a:moveTo>
                  <a:cubicBezTo>
                    <a:pt x="454" y="48"/>
                    <a:pt x="454" y="48"/>
                    <a:pt x="45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442" y="24"/>
                    <a:pt x="442" y="24"/>
                    <a:pt x="442" y="24"/>
                  </a:cubicBezTo>
                  <a:cubicBezTo>
                    <a:pt x="442" y="60"/>
                    <a:pt x="442" y="60"/>
                    <a:pt x="442" y="60"/>
                  </a:cubicBezTo>
                  <a:cubicBezTo>
                    <a:pt x="454" y="60"/>
                    <a:pt x="454" y="60"/>
                    <a:pt x="454" y="60"/>
                  </a:cubicBezTo>
                  <a:cubicBezTo>
                    <a:pt x="454" y="48"/>
                    <a:pt x="454" y="48"/>
                    <a:pt x="454" y="48"/>
                  </a:cubicBezTo>
                  <a:cubicBezTo>
                    <a:pt x="454" y="60"/>
                    <a:pt x="454" y="60"/>
                    <a:pt x="454" y="60"/>
                  </a:cubicBezTo>
                  <a:cubicBezTo>
                    <a:pt x="466" y="60"/>
                    <a:pt x="466" y="60"/>
                    <a:pt x="466" y="60"/>
                  </a:cubicBezTo>
                  <a:cubicBezTo>
                    <a:pt x="466" y="12"/>
                    <a:pt x="466" y="12"/>
                    <a:pt x="466" y="12"/>
                  </a:cubicBezTo>
                  <a:cubicBezTo>
                    <a:pt x="466" y="8"/>
                    <a:pt x="465" y="5"/>
                    <a:pt x="462" y="3"/>
                  </a:cubicBezTo>
                  <a:cubicBezTo>
                    <a:pt x="460" y="1"/>
                    <a:pt x="457" y="0"/>
                    <a:pt x="454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9" y="0"/>
                    <a:pt x="6" y="1"/>
                    <a:pt x="4" y="3"/>
                  </a:cubicBezTo>
                  <a:cubicBezTo>
                    <a:pt x="2" y="5"/>
                    <a:pt x="0" y="8"/>
                    <a:pt x="0" y="12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0" y="64"/>
                    <a:pt x="2" y="67"/>
                    <a:pt x="4" y="69"/>
                  </a:cubicBezTo>
                  <a:cubicBezTo>
                    <a:pt x="6" y="71"/>
                    <a:pt x="9" y="72"/>
                    <a:pt x="12" y="72"/>
                  </a:cubicBezTo>
                  <a:cubicBezTo>
                    <a:pt x="454" y="72"/>
                    <a:pt x="454" y="72"/>
                    <a:pt x="454" y="72"/>
                  </a:cubicBezTo>
                  <a:cubicBezTo>
                    <a:pt x="457" y="72"/>
                    <a:pt x="460" y="71"/>
                    <a:pt x="462" y="69"/>
                  </a:cubicBezTo>
                  <a:cubicBezTo>
                    <a:pt x="465" y="67"/>
                    <a:pt x="466" y="64"/>
                    <a:pt x="466" y="60"/>
                  </a:cubicBezTo>
                  <a:lnTo>
                    <a:pt x="454" y="60"/>
                  </a:lnTo>
                  <a:close/>
                </a:path>
              </a:pathLst>
            </a:custGeom>
            <a:solidFill>
              <a:srgbClr val="7AC2F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9" name="Freeform 109">
              <a:extLst>
                <a:ext uri="{FF2B5EF4-FFF2-40B4-BE49-F238E27FC236}">
                  <a16:creationId xmlns:a16="http://schemas.microsoft.com/office/drawing/2014/main" id="{D52D3A63-55DB-4421-BDC7-DC7641095C15}"/>
                </a:ext>
              </a:extLst>
            </p:cNvPr>
            <p:cNvSpPr>
              <a:spLocks/>
            </p:cNvSpPr>
            <p:nvPr/>
          </p:nvSpPr>
          <p:spPr bwMode="auto">
            <a:xfrm>
              <a:off x="6356462" y="2703209"/>
              <a:ext cx="458274" cy="520880"/>
            </a:xfrm>
            <a:custGeom>
              <a:avLst/>
              <a:gdLst>
                <a:gd name="T0" fmla="*/ 382 w 487"/>
                <a:gd name="T1" fmla="*/ 0 h 554"/>
                <a:gd name="T2" fmla="*/ 210 w 487"/>
                <a:gd name="T3" fmla="*/ 301 h 554"/>
                <a:gd name="T4" fmla="*/ 0 w 487"/>
                <a:gd name="T5" fmla="*/ 456 h 554"/>
                <a:gd name="T6" fmla="*/ 48 w 487"/>
                <a:gd name="T7" fmla="*/ 554 h 554"/>
                <a:gd name="T8" fmla="*/ 50 w 487"/>
                <a:gd name="T9" fmla="*/ 553 h 554"/>
                <a:gd name="T10" fmla="*/ 486 w 487"/>
                <a:gd name="T11" fmla="*/ 32 h 554"/>
                <a:gd name="T12" fmla="*/ 487 w 487"/>
                <a:gd name="T13" fmla="*/ 30 h 554"/>
                <a:gd name="T14" fmla="*/ 382 w 487"/>
                <a:gd name="T15" fmla="*/ 0 h 5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87" h="554">
                  <a:moveTo>
                    <a:pt x="382" y="0"/>
                  </a:moveTo>
                  <a:cubicBezTo>
                    <a:pt x="349" y="114"/>
                    <a:pt x="289" y="217"/>
                    <a:pt x="210" y="301"/>
                  </a:cubicBezTo>
                  <a:cubicBezTo>
                    <a:pt x="150" y="364"/>
                    <a:pt x="79" y="417"/>
                    <a:pt x="0" y="456"/>
                  </a:cubicBezTo>
                  <a:cubicBezTo>
                    <a:pt x="11" y="491"/>
                    <a:pt x="27" y="524"/>
                    <a:pt x="48" y="554"/>
                  </a:cubicBezTo>
                  <a:cubicBezTo>
                    <a:pt x="49" y="554"/>
                    <a:pt x="50" y="553"/>
                    <a:pt x="50" y="553"/>
                  </a:cubicBezTo>
                  <a:cubicBezTo>
                    <a:pt x="260" y="449"/>
                    <a:pt x="420" y="261"/>
                    <a:pt x="486" y="32"/>
                  </a:cubicBezTo>
                  <a:cubicBezTo>
                    <a:pt x="487" y="32"/>
                    <a:pt x="487" y="31"/>
                    <a:pt x="487" y="30"/>
                  </a:cubicBezTo>
                  <a:cubicBezTo>
                    <a:pt x="454" y="15"/>
                    <a:pt x="419" y="4"/>
                    <a:pt x="382" y="0"/>
                  </a:cubicBezTo>
                </a:path>
              </a:pathLst>
            </a:custGeom>
            <a:solidFill>
              <a:srgbClr val="CFE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0" name="Freeform 110">
              <a:extLst>
                <a:ext uri="{FF2B5EF4-FFF2-40B4-BE49-F238E27FC236}">
                  <a16:creationId xmlns:a16="http://schemas.microsoft.com/office/drawing/2014/main" id="{2914CFFF-08D5-4594-8B1B-46460A2E9763}"/>
                </a:ext>
              </a:extLst>
            </p:cNvPr>
            <p:cNvSpPr>
              <a:spLocks/>
            </p:cNvSpPr>
            <p:nvPr/>
          </p:nvSpPr>
          <p:spPr bwMode="auto">
            <a:xfrm>
              <a:off x="6402039" y="2731757"/>
              <a:ext cx="423215" cy="501848"/>
            </a:xfrm>
            <a:custGeom>
              <a:avLst/>
              <a:gdLst>
                <a:gd name="T0" fmla="*/ 439 w 450"/>
                <a:gd name="T1" fmla="*/ 0 h 534"/>
                <a:gd name="T2" fmla="*/ 438 w 450"/>
                <a:gd name="T3" fmla="*/ 2 h 534"/>
                <a:gd name="T4" fmla="*/ 2 w 450"/>
                <a:gd name="T5" fmla="*/ 523 h 534"/>
                <a:gd name="T6" fmla="*/ 0 w 450"/>
                <a:gd name="T7" fmla="*/ 524 h 534"/>
                <a:gd name="T8" fmla="*/ 8 w 450"/>
                <a:gd name="T9" fmla="*/ 534 h 534"/>
                <a:gd name="T10" fmla="*/ 450 w 450"/>
                <a:gd name="T11" fmla="*/ 6 h 534"/>
                <a:gd name="T12" fmla="*/ 439 w 450"/>
                <a:gd name="T13" fmla="*/ 0 h 5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50" h="534">
                  <a:moveTo>
                    <a:pt x="439" y="0"/>
                  </a:moveTo>
                  <a:cubicBezTo>
                    <a:pt x="439" y="1"/>
                    <a:pt x="439" y="2"/>
                    <a:pt x="438" y="2"/>
                  </a:cubicBezTo>
                  <a:cubicBezTo>
                    <a:pt x="372" y="231"/>
                    <a:pt x="212" y="419"/>
                    <a:pt x="2" y="523"/>
                  </a:cubicBezTo>
                  <a:cubicBezTo>
                    <a:pt x="2" y="523"/>
                    <a:pt x="1" y="524"/>
                    <a:pt x="0" y="524"/>
                  </a:cubicBezTo>
                  <a:cubicBezTo>
                    <a:pt x="3" y="527"/>
                    <a:pt x="5" y="531"/>
                    <a:pt x="8" y="534"/>
                  </a:cubicBezTo>
                  <a:cubicBezTo>
                    <a:pt x="220" y="428"/>
                    <a:pt x="383" y="237"/>
                    <a:pt x="450" y="6"/>
                  </a:cubicBezTo>
                  <a:cubicBezTo>
                    <a:pt x="446" y="4"/>
                    <a:pt x="443" y="2"/>
                    <a:pt x="439" y="0"/>
                  </a:cubicBezTo>
                </a:path>
              </a:pathLst>
            </a:custGeom>
            <a:solidFill>
              <a:srgbClr val="6FB7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1" name="Freeform 111">
              <a:extLst>
                <a:ext uri="{FF2B5EF4-FFF2-40B4-BE49-F238E27FC236}">
                  <a16:creationId xmlns:a16="http://schemas.microsoft.com/office/drawing/2014/main" id="{E982EB24-631F-4DE7-ACB7-9C50A240F946}"/>
                </a:ext>
              </a:extLst>
            </p:cNvPr>
            <p:cNvSpPr>
              <a:spLocks/>
            </p:cNvSpPr>
            <p:nvPr/>
          </p:nvSpPr>
          <p:spPr bwMode="auto">
            <a:xfrm>
              <a:off x="6347447" y="2700705"/>
              <a:ext cx="346085" cy="265949"/>
            </a:xfrm>
            <a:custGeom>
              <a:avLst/>
              <a:gdLst>
                <a:gd name="T0" fmla="*/ 347 w 368"/>
                <a:gd name="T1" fmla="*/ 0 h 283"/>
                <a:gd name="T2" fmla="*/ 329 w 368"/>
                <a:gd name="T3" fmla="*/ 0 h 283"/>
                <a:gd name="T4" fmla="*/ 329 w 368"/>
                <a:gd name="T5" fmla="*/ 60 h 283"/>
                <a:gd name="T6" fmla="*/ 329 w 368"/>
                <a:gd name="T7" fmla="*/ 60 h 283"/>
                <a:gd name="T8" fmla="*/ 303 w 368"/>
                <a:gd name="T9" fmla="*/ 124 h 283"/>
                <a:gd name="T10" fmla="*/ 239 w 368"/>
                <a:gd name="T11" fmla="*/ 150 h 283"/>
                <a:gd name="T12" fmla="*/ 58 w 368"/>
                <a:gd name="T13" fmla="*/ 150 h 283"/>
                <a:gd name="T14" fmla="*/ 0 w 368"/>
                <a:gd name="T15" fmla="*/ 283 h 283"/>
                <a:gd name="T16" fmla="*/ 206 w 368"/>
                <a:gd name="T17" fmla="*/ 283 h 283"/>
                <a:gd name="T18" fmla="*/ 368 w 368"/>
                <a:gd name="T19" fmla="*/ 0 h 283"/>
                <a:gd name="T20" fmla="*/ 347 w 368"/>
                <a:gd name="T21" fmla="*/ 0 h 2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68" h="283">
                  <a:moveTo>
                    <a:pt x="347" y="0"/>
                  </a:moveTo>
                  <a:cubicBezTo>
                    <a:pt x="341" y="0"/>
                    <a:pt x="335" y="0"/>
                    <a:pt x="329" y="0"/>
                  </a:cubicBezTo>
                  <a:cubicBezTo>
                    <a:pt x="329" y="60"/>
                    <a:pt x="329" y="60"/>
                    <a:pt x="329" y="60"/>
                  </a:cubicBezTo>
                  <a:cubicBezTo>
                    <a:pt x="329" y="60"/>
                    <a:pt x="329" y="60"/>
                    <a:pt x="329" y="60"/>
                  </a:cubicBezTo>
                  <a:cubicBezTo>
                    <a:pt x="329" y="85"/>
                    <a:pt x="319" y="107"/>
                    <a:pt x="303" y="124"/>
                  </a:cubicBezTo>
                  <a:cubicBezTo>
                    <a:pt x="287" y="140"/>
                    <a:pt x="264" y="150"/>
                    <a:pt x="239" y="150"/>
                  </a:cubicBezTo>
                  <a:cubicBezTo>
                    <a:pt x="58" y="150"/>
                    <a:pt x="58" y="150"/>
                    <a:pt x="58" y="150"/>
                  </a:cubicBezTo>
                  <a:cubicBezTo>
                    <a:pt x="30" y="189"/>
                    <a:pt x="10" y="235"/>
                    <a:pt x="0" y="283"/>
                  </a:cubicBezTo>
                  <a:cubicBezTo>
                    <a:pt x="206" y="283"/>
                    <a:pt x="206" y="283"/>
                    <a:pt x="206" y="283"/>
                  </a:cubicBezTo>
                  <a:cubicBezTo>
                    <a:pt x="280" y="204"/>
                    <a:pt x="336" y="107"/>
                    <a:pt x="368" y="0"/>
                  </a:cubicBezTo>
                  <a:cubicBezTo>
                    <a:pt x="361" y="0"/>
                    <a:pt x="354" y="0"/>
                    <a:pt x="347" y="0"/>
                  </a:cubicBezTo>
                </a:path>
              </a:pathLst>
            </a:custGeom>
            <a:solidFill>
              <a:srgbClr val="E8F1F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2" name="Freeform 112">
              <a:extLst>
                <a:ext uri="{FF2B5EF4-FFF2-40B4-BE49-F238E27FC236}">
                  <a16:creationId xmlns:a16="http://schemas.microsoft.com/office/drawing/2014/main" id="{65F2D363-DF35-4385-9EC0-54E381F079F1}"/>
                </a:ext>
              </a:extLst>
            </p:cNvPr>
            <p:cNvSpPr>
              <a:spLocks/>
            </p:cNvSpPr>
            <p:nvPr/>
          </p:nvSpPr>
          <p:spPr bwMode="auto">
            <a:xfrm>
              <a:off x="6356462" y="2700705"/>
              <a:ext cx="359608" cy="431229"/>
            </a:xfrm>
            <a:custGeom>
              <a:avLst/>
              <a:gdLst>
                <a:gd name="T0" fmla="*/ 358 w 382"/>
                <a:gd name="T1" fmla="*/ 0 h 459"/>
                <a:gd name="T2" fmla="*/ 196 w 382"/>
                <a:gd name="T3" fmla="*/ 283 h 459"/>
                <a:gd name="T4" fmla="*/ 201 w 382"/>
                <a:gd name="T5" fmla="*/ 283 h 459"/>
                <a:gd name="T6" fmla="*/ 212 w 382"/>
                <a:gd name="T7" fmla="*/ 291 h 459"/>
                <a:gd name="T8" fmla="*/ 210 w 382"/>
                <a:gd name="T9" fmla="*/ 304 h 459"/>
                <a:gd name="T10" fmla="*/ 0 w 382"/>
                <a:gd name="T11" fmla="*/ 459 h 459"/>
                <a:gd name="T12" fmla="*/ 0 w 382"/>
                <a:gd name="T13" fmla="*/ 459 h 459"/>
                <a:gd name="T14" fmla="*/ 210 w 382"/>
                <a:gd name="T15" fmla="*/ 304 h 459"/>
                <a:gd name="T16" fmla="*/ 382 w 382"/>
                <a:gd name="T17" fmla="*/ 3 h 459"/>
                <a:gd name="T18" fmla="*/ 358 w 382"/>
                <a:gd name="T19" fmla="*/ 0 h 4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82" h="459">
                  <a:moveTo>
                    <a:pt x="358" y="0"/>
                  </a:moveTo>
                  <a:cubicBezTo>
                    <a:pt x="326" y="107"/>
                    <a:pt x="270" y="204"/>
                    <a:pt x="196" y="283"/>
                  </a:cubicBezTo>
                  <a:cubicBezTo>
                    <a:pt x="201" y="283"/>
                    <a:pt x="201" y="283"/>
                    <a:pt x="201" y="283"/>
                  </a:cubicBezTo>
                  <a:cubicBezTo>
                    <a:pt x="206" y="283"/>
                    <a:pt x="211" y="286"/>
                    <a:pt x="212" y="291"/>
                  </a:cubicBezTo>
                  <a:cubicBezTo>
                    <a:pt x="214" y="295"/>
                    <a:pt x="213" y="300"/>
                    <a:pt x="210" y="304"/>
                  </a:cubicBezTo>
                  <a:cubicBezTo>
                    <a:pt x="150" y="367"/>
                    <a:pt x="79" y="420"/>
                    <a:pt x="0" y="459"/>
                  </a:cubicBezTo>
                  <a:cubicBezTo>
                    <a:pt x="0" y="459"/>
                    <a:pt x="0" y="459"/>
                    <a:pt x="0" y="459"/>
                  </a:cubicBezTo>
                  <a:cubicBezTo>
                    <a:pt x="79" y="420"/>
                    <a:pt x="150" y="367"/>
                    <a:pt x="210" y="304"/>
                  </a:cubicBezTo>
                  <a:cubicBezTo>
                    <a:pt x="289" y="220"/>
                    <a:pt x="349" y="117"/>
                    <a:pt x="382" y="3"/>
                  </a:cubicBezTo>
                  <a:cubicBezTo>
                    <a:pt x="374" y="2"/>
                    <a:pt x="366" y="1"/>
                    <a:pt x="358" y="0"/>
                  </a:cubicBezTo>
                </a:path>
              </a:pathLst>
            </a:custGeom>
            <a:solidFill>
              <a:srgbClr val="6FB7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3" name="Freeform 113">
              <a:extLst>
                <a:ext uri="{FF2B5EF4-FFF2-40B4-BE49-F238E27FC236}">
                  <a16:creationId xmlns:a16="http://schemas.microsoft.com/office/drawing/2014/main" id="{05C0D1F9-B600-43D5-8FE7-3F7803260785}"/>
                </a:ext>
              </a:extLst>
            </p:cNvPr>
            <p:cNvSpPr>
              <a:spLocks/>
            </p:cNvSpPr>
            <p:nvPr/>
          </p:nvSpPr>
          <p:spPr bwMode="auto">
            <a:xfrm>
              <a:off x="6341436" y="2989192"/>
              <a:ext cx="177801" cy="121205"/>
            </a:xfrm>
            <a:custGeom>
              <a:avLst/>
              <a:gdLst>
                <a:gd name="T0" fmla="*/ 189 w 189"/>
                <a:gd name="T1" fmla="*/ 0 h 129"/>
                <a:gd name="T2" fmla="*/ 2 w 189"/>
                <a:gd name="T3" fmla="*/ 0 h 129"/>
                <a:gd name="T4" fmla="*/ 0 w 189"/>
                <a:gd name="T5" fmla="*/ 46 h 129"/>
                <a:gd name="T6" fmla="*/ 9 w 189"/>
                <a:gd name="T7" fmla="*/ 129 h 129"/>
                <a:gd name="T8" fmla="*/ 189 w 189"/>
                <a:gd name="T9" fmla="*/ 0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9" h="129">
                  <a:moveTo>
                    <a:pt x="189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15"/>
                    <a:pt x="0" y="31"/>
                    <a:pt x="0" y="46"/>
                  </a:cubicBezTo>
                  <a:cubicBezTo>
                    <a:pt x="0" y="75"/>
                    <a:pt x="3" y="102"/>
                    <a:pt x="9" y="129"/>
                  </a:cubicBezTo>
                  <a:cubicBezTo>
                    <a:pt x="76" y="95"/>
                    <a:pt x="136" y="52"/>
                    <a:pt x="189" y="0"/>
                  </a:cubicBezTo>
                </a:path>
              </a:pathLst>
            </a:custGeom>
            <a:solidFill>
              <a:srgbClr val="9FCE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4" name="Freeform 114">
              <a:extLst>
                <a:ext uri="{FF2B5EF4-FFF2-40B4-BE49-F238E27FC236}">
                  <a16:creationId xmlns:a16="http://schemas.microsoft.com/office/drawing/2014/main" id="{2773C1E1-A16F-41D9-87E8-CB1EF426516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343440" y="2966654"/>
              <a:ext cx="214362" cy="165279"/>
            </a:xfrm>
            <a:custGeom>
              <a:avLst/>
              <a:gdLst>
                <a:gd name="T0" fmla="*/ 215 w 228"/>
                <a:gd name="T1" fmla="*/ 12 h 176"/>
                <a:gd name="T2" fmla="*/ 207 w 228"/>
                <a:gd name="T3" fmla="*/ 4 h 176"/>
                <a:gd name="T4" fmla="*/ 215 w 228"/>
                <a:gd name="T5" fmla="*/ 12 h 176"/>
                <a:gd name="T6" fmla="*/ 215 w 228"/>
                <a:gd name="T7" fmla="*/ 0 h 176"/>
                <a:gd name="T8" fmla="*/ 215 w 228"/>
                <a:gd name="T9" fmla="*/ 0 h 176"/>
                <a:gd name="T10" fmla="*/ 210 w 228"/>
                <a:gd name="T11" fmla="*/ 0 h 176"/>
                <a:gd name="T12" fmla="*/ 4 w 228"/>
                <a:gd name="T13" fmla="*/ 0 h 176"/>
                <a:gd name="T14" fmla="*/ 0 w 228"/>
                <a:gd name="T15" fmla="*/ 24 h 176"/>
                <a:gd name="T16" fmla="*/ 187 w 228"/>
                <a:gd name="T17" fmla="*/ 24 h 176"/>
                <a:gd name="T18" fmla="*/ 7 w 228"/>
                <a:gd name="T19" fmla="*/ 153 h 176"/>
                <a:gd name="T20" fmla="*/ 14 w 228"/>
                <a:gd name="T21" fmla="*/ 176 h 176"/>
                <a:gd name="T22" fmla="*/ 224 w 228"/>
                <a:gd name="T23" fmla="*/ 21 h 176"/>
                <a:gd name="T24" fmla="*/ 226 w 228"/>
                <a:gd name="T25" fmla="*/ 8 h 176"/>
                <a:gd name="T26" fmla="*/ 215 w 228"/>
                <a:gd name="T27" fmla="*/ 0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28" h="176">
                  <a:moveTo>
                    <a:pt x="215" y="12"/>
                  </a:moveTo>
                  <a:cubicBezTo>
                    <a:pt x="207" y="4"/>
                    <a:pt x="207" y="4"/>
                    <a:pt x="207" y="4"/>
                  </a:cubicBezTo>
                  <a:cubicBezTo>
                    <a:pt x="215" y="12"/>
                    <a:pt x="215" y="12"/>
                    <a:pt x="215" y="12"/>
                  </a:cubicBezTo>
                  <a:moveTo>
                    <a:pt x="215" y="0"/>
                  </a:moveTo>
                  <a:cubicBezTo>
                    <a:pt x="215" y="0"/>
                    <a:pt x="215" y="0"/>
                    <a:pt x="215" y="0"/>
                  </a:cubicBezTo>
                  <a:cubicBezTo>
                    <a:pt x="210" y="0"/>
                    <a:pt x="210" y="0"/>
                    <a:pt x="210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8"/>
                    <a:pt x="2" y="16"/>
                    <a:pt x="0" y="24"/>
                  </a:cubicBezTo>
                  <a:cubicBezTo>
                    <a:pt x="187" y="24"/>
                    <a:pt x="187" y="24"/>
                    <a:pt x="187" y="24"/>
                  </a:cubicBezTo>
                  <a:cubicBezTo>
                    <a:pt x="134" y="76"/>
                    <a:pt x="74" y="119"/>
                    <a:pt x="7" y="153"/>
                  </a:cubicBezTo>
                  <a:cubicBezTo>
                    <a:pt x="9" y="161"/>
                    <a:pt x="11" y="168"/>
                    <a:pt x="14" y="176"/>
                  </a:cubicBezTo>
                  <a:cubicBezTo>
                    <a:pt x="93" y="137"/>
                    <a:pt x="164" y="84"/>
                    <a:pt x="224" y="21"/>
                  </a:cubicBezTo>
                  <a:cubicBezTo>
                    <a:pt x="227" y="17"/>
                    <a:pt x="228" y="12"/>
                    <a:pt x="226" y="8"/>
                  </a:cubicBezTo>
                  <a:cubicBezTo>
                    <a:pt x="225" y="3"/>
                    <a:pt x="220" y="0"/>
                    <a:pt x="215" y="0"/>
                  </a:cubicBezTo>
                </a:path>
              </a:pathLst>
            </a:custGeom>
            <a:solidFill>
              <a:srgbClr val="6FB7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5" name="Freeform 115">
              <a:extLst>
                <a:ext uri="{FF2B5EF4-FFF2-40B4-BE49-F238E27FC236}">
                  <a16:creationId xmlns:a16="http://schemas.microsoft.com/office/drawing/2014/main" id="{FD9EE5EA-7BD5-4550-8FC4-559B83090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6418567" y="2702708"/>
              <a:ext cx="215865" cy="116196"/>
            </a:xfrm>
            <a:custGeom>
              <a:avLst/>
              <a:gdLst>
                <a:gd name="T0" fmla="*/ 229 w 229"/>
                <a:gd name="T1" fmla="*/ 0 h 124"/>
                <a:gd name="T2" fmla="*/ 0 w 229"/>
                <a:gd name="T3" fmla="*/ 124 h 124"/>
                <a:gd name="T4" fmla="*/ 163 w 229"/>
                <a:gd name="T5" fmla="*/ 124 h 124"/>
                <a:gd name="T6" fmla="*/ 210 w 229"/>
                <a:gd name="T7" fmla="*/ 105 h 124"/>
                <a:gd name="T8" fmla="*/ 229 w 229"/>
                <a:gd name="T9" fmla="*/ 58 h 124"/>
                <a:gd name="T10" fmla="*/ 229 w 229"/>
                <a:gd name="T11" fmla="*/ 0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9" h="124">
                  <a:moveTo>
                    <a:pt x="229" y="0"/>
                  </a:moveTo>
                  <a:cubicBezTo>
                    <a:pt x="138" y="11"/>
                    <a:pt x="57" y="57"/>
                    <a:pt x="0" y="124"/>
                  </a:cubicBezTo>
                  <a:cubicBezTo>
                    <a:pt x="163" y="124"/>
                    <a:pt x="163" y="124"/>
                    <a:pt x="163" y="124"/>
                  </a:cubicBezTo>
                  <a:cubicBezTo>
                    <a:pt x="181" y="124"/>
                    <a:pt x="198" y="117"/>
                    <a:pt x="210" y="105"/>
                  </a:cubicBezTo>
                  <a:cubicBezTo>
                    <a:pt x="222" y="93"/>
                    <a:pt x="229" y="76"/>
                    <a:pt x="229" y="58"/>
                  </a:cubicBezTo>
                  <a:cubicBezTo>
                    <a:pt x="229" y="0"/>
                    <a:pt x="229" y="0"/>
                    <a:pt x="229" y="0"/>
                  </a:cubicBezTo>
                </a:path>
              </a:pathLst>
            </a:custGeom>
            <a:solidFill>
              <a:srgbClr val="E8F1F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6" name="Freeform 116">
              <a:extLst>
                <a:ext uri="{FF2B5EF4-FFF2-40B4-BE49-F238E27FC236}">
                  <a16:creationId xmlns:a16="http://schemas.microsoft.com/office/drawing/2014/main" id="{1281CACF-A286-40B2-A5F0-E2DFEEF0F5E6}"/>
                </a:ext>
              </a:extLst>
            </p:cNvPr>
            <p:cNvSpPr>
              <a:spLocks/>
            </p:cNvSpPr>
            <p:nvPr/>
          </p:nvSpPr>
          <p:spPr bwMode="auto">
            <a:xfrm>
              <a:off x="6402039" y="2700705"/>
              <a:ext cx="254931" cy="140738"/>
            </a:xfrm>
            <a:custGeom>
              <a:avLst/>
              <a:gdLst>
                <a:gd name="T0" fmla="*/ 271 w 271"/>
                <a:gd name="T1" fmla="*/ 0 h 150"/>
                <a:gd name="T2" fmla="*/ 247 w 271"/>
                <a:gd name="T3" fmla="*/ 2 h 150"/>
                <a:gd name="T4" fmla="*/ 247 w 271"/>
                <a:gd name="T5" fmla="*/ 60 h 150"/>
                <a:gd name="T6" fmla="*/ 228 w 271"/>
                <a:gd name="T7" fmla="*/ 107 h 150"/>
                <a:gd name="T8" fmla="*/ 181 w 271"/>
                <a:gd name="T9" fmla="*/ 126 h 150"/>
                <a:gd name="T10" fmla="*/ 18 w 271"/>
                <a:gd name="T11" fmla="*/ 126 h 150"/>
                <a:gd name="T12" fmla="*/ 0 w 271"/>
                <a:gd name="T13" fmla="*/ 150 h 150"/>
                <a:gd name="T14" fmla="*/ 181 w 271"/>
                <a:gd name="T15" fmla="*/ 150 h 150"/>
                <a:gd name="T16" fmla="*/ 245 w 271"/>
                <a:gd name="T17" fmla="*/ 124 h 150"/>
                <a:gd name="T18" fmla="*/ 271 w 271"/>
                <a:gd name="T19" fmla="*/ 60 h 150"/>
                <a:gd name="T20" fmla="*/ 271 w 271"/>
                <a:gd name="T21" fmla="*/ 60 h 150"/>
                <a:gd name="T22" fmla="*/ 271 w 271"/>
                <a:gd name="T23" fmla="*/ 0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71" h="150">
                  <a:moveTo>
                    <a:pt x="271" y="0"/>
                  </a:moveTo>
                  <a:cubicBezTo>
                    <a:pt x="263" y="1"/>
                    <a:pt x="255" y="1"/>
                    <a:pt x="247" y="2"/>
                  </a:cubicBezTo>
                  <a:cubicBezTo>
                    <a:pt x="247" y="60"/>
                    <a:pt x="247" y="60"/>
                    <a:pt x="247" y="60"/>
                  </a:cubicBezTo>
                  <a:cubicBezTo>
                    <a:pt x="247" y="78"/>
                    <a:pt x="240" y="95"/>
                    <a:pt x="228" y="107"/>
                  </a:cubicBezTo>
                  <a:cubicBezTo>
                    <a:pt x="216" y="119"/>
                    <a:pt x="199" y="126"/>
                    <a:pt x="181" y="126"/>
                  </a:cubicBezTo>
                  <a:cubicBezTo>
                    <a:pt x="18" y="126"/>
                    <a:pt x="18" y="126"/>
                    <a:pt x="18" y="126"/>
                  </a:cubicBezTo>
                  <a:cubicBezTo>
                    <a:pt x="12" y="134"/>
                    <a:pt x="6" y="142"/>
                    <a:pt x="0" y="150"/>
                  </a:cubicBezTo>
                  <a:cubicBezTo>
                    <a:pt x="181" y="150"/>
                    <a:pt x="181" y="150"/>
                    <a:pt x="181" y="150"/>
                  </a:cubicBezTo>
                  <a:cubicBezTo>
                    <a:pt x="206" y="150"/>
                    <a:pt x="229" y="140"/>
                    <a:pt x="245" y="124"/>
                  </a:cubicBezTo>
                  <a:cubicBezTo>
                    <a:pt x="261" y="107"/>
                    <a:pt x="271" y="85"/>
                    <a:pt x="271" y="60"/>
                  </a:cubicBezTo>
                  <a:cubicBezTo>
                    <a:pt x="271" y="60"/>
                    <a:pt x="271" y="60"/>
                    <a:pt x="271" y="60"/>
                  </a:cubicBezTo>
                  <a:cubicBezTo>
                    <a:pt x="271" y="0"/>
                    <a:pt x="271" y="0"/>
                    <a:pt x="271" y="0"/>
                  </a:cubicBezTo>
                </a:path>
              </a:pathLst>
            </a:custGeom>
            <a:solidFill>
              <a:srgbClr val="6FB7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7" name="Oval 117">
              <a:extLst>
                <a:ext uri="{FF2B5EF4-FFF2-40B4-BE49-F238E27FC236}">
                  <a16:creationId xmlns:a16="http://schemas.microsoft.com/office/drawing/2014/main" id="{94FCEC4C-8F13-4AD8-9C3E-312F846350E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421572" y="2764312"/>
              <a:ext cx="537408" cy="536406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8" name="Freeform 118">
              <a:extLst>
                <a:ext uri="{FF2B5EF4-FFF2-40B4-BE49-F238E27FC236}">
                  <a16:creationId xmlns:a16="http://schemas.microsoft.com/office/drawing/2014/main" id="{43F676ED-978F-445E-B38D-B646834AC50E}"/>
                </a:ext>
              </a:extLst>
            </p:cNvPr>
            <p:cNvSpPr>
              <a:spLocks/>
            </p:cNvSpPr>
            <p:nvPr/>
          </p:nvSpPr>
          <p:spPr bwMode="auto">
            <a:xfrm>
              <a:off x="6501707" y="2778837"/>
              <a:ext cx="440244" cy="521882"/>
            </a:xfrm>
            <a:custGeom>
              <a:avLst/>
              <a:gdLst>
                <a:gd name="T0" fmla="*/ 468 w 468"/>
                <a:gd name="T1" fmla="*/ 270 h 555"/>
                <a:gd name="T2" fmla="*/ 183 w 468"/>
                <a:gd name="T3" fmla="*/ 555 h 555"/>
                <a:gd name="T4" fmla="*/ 0 w 468"/>
                <a:gd name="T5" fmla="*/ 489 h 555"/>
                <a:gd name="T6" fmla="*/ 93 w 468"/>
                <a:gd name="T7" fmla="*/ 505 h 555"/>
                <a:gd name="T8" fmla="*/ 378 w 468"/>
                <a:gd name="T9" fmla="*/ 219 h 555"/>
                <a:gd name="T10" fmla="*/ 276 w 468"/>
                <a:gd name="T11" fmla="*/ 0 h 555"/>
                <a:gd name="T12" fmla="*/ 468 w 468"/>
                <a:gd name="T13" fmla="*/ 270 h 5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68" h="555">
                  <a:moveTo>
                    <a:pt x="468" y="270"/>
                  </a:moveTo>
                  <a:cubicBezTo>
                    <a:pt x="468" y="428"/>
                    <a:pt x="340" y="555"/>
                    <a:pt x="183" y="555"/>
                  </a:cubicBezTo>
                  <a:cubicBezTo>
                    <a:pt x="113" y="555"/>
                    <a:pt x="49" y="531"/>
                    <a:pt x="0" y="489"/>
                  </a:cubicBezTo>
                  <a:cubicBezTo>
                    <a:pt x="29" y="499"/>
                    <a:pt x="60" y="505"/>
                    <a:pt x="93" y="505"/>
                  </a:cubicBezTo>
                  <a:cubicBezTo>
                    <a:pt x="250" y="505"/>
                    <a:pt x="378" y="377"/>
                    <a:pt x="378" y="219"/>
                  </a:cubicBezTo>
                  <a:cubicBezTo>
                    <a:pt x="378" y="131"/>
                    <a:pt x="338" y="53"/>
                    <a:pt x="276" y="0"/>
                  </a:cubicBezTo>
                  <a:cubicBezTo>
                    <a:pt x="388" y="39"/>
                    <a:pt x="468" y="145"/>
                    <a:pt x="468" y="270"/>
                  </a:cubicBezTo>
                  <a:close/>
                </a:path>
              </a:pathLst>
            </a:custGeom>
            <a:solidFill>
              <a:srgbClr val="D1E3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9" name="Freeform 119">
              <a:extLst>
                <a:ext uri="{FF2B5EF4-FFF2-40B4-BE49-F238E27FC236}">
                  <a16:creationId xmlns:a16="http://schemas.microsoft.com/office/drawing/2014/main" id="{991B6A65-514F-4350-AF10-ED9FCC8D3ACE}"/>
                </a:ext>
              </a:extLst>
            </p:cNvPr>
            <p:cNvSpPr>
              <a:spLocks/>
            </p:cNvSpPr>
            <p:nvPr/>
          </p:nvSpPr>
          <p:spPr bwMode="auto">
            <a:xfrm>
              <a:off x="6393524" y="2753294"/>
              <a:ext cx="559445" cy="558444"/>
            </a:xfrm>
            <a:custGeom>
              <a:avLst/>
              <a:gdLst>
                <a:gd name="T0" fmla="*/ 583 w 595"/>
                <a:gd name="T1" fmla="*/ 297 h 594"/>
                <a:gd name="T2" fmla="*/ 571 w 595"/>
                <a:gd name="T3" fmla="*/ 297 h 594"/>
                <a:gd name="T4" fmla="*/ 491 w 595"/>
                <a:gd name="T5" fmla="*/ 490 h 594"/>
                <a:gd name="T6" fmla="*/ 298 w 595"/>
                <a:gd name="T7" fmla="*/ 570 h 594"/>
                <a:gd name="T8" fmla="*/ 105 w 595"/>
                <a:gd name="T9" fmla="*/ 490 h 594"/>
                <a:gd name="T10" fmla="*/ 24 w 595"/>
                <a:gd name="T11" fmla="*/ 297 h 594"/>
                <a:gd name="T12" fmla="*/ 105 w 595"/>
                <a:gd name="T13" fmla="*/ 104 h 594"/>
                <a:gd name="T14" fmla="*/ 298 w 595"/>
                <a:gd name="T15" fmla="*/ 24 h 594"/>
                <a:gd name="T16" fmla="*/ 491 w 595"/>
                <a:gd name="T17" fmla="*/ 104 h 594"/>
                <a:gd name="T18" fmla="*/ 571 w 595"/>
                <a:gd name="T19" fmla="*/ 297 h 594"/>
                <a:gd name="T20" fmla="*/ 583 w 595"/>
                <a:gd name="T21" fmla="*/ 297 h 594"/>
                <a:gd name="T22" fmla="*/ 595 w 595"/>
                <a:gd name="T23" fmla="*/ 297 h 594"/>
                <a:gd name="T24" fmla="*/ 508 w 595"/>
                <a:gd name="T25" fmla="*/ 87 h 594"/>
                <a:gd name="T26" fmla="*/ 298 w 595"/>
                <a:gd name="T27" fmla="*/ 0 h 594"/>
                <a:gd name="T28" fmla="*/ 88 w 595"/>
                <a:gd name="T29" fmla="*/ 87 h 594"/>
                <a:gd name="T30" fmla="*/ 0 w 595"/>
                <a:gd name="T31" fmla="*/ 297 h 594"/>
                <a:gd name="T32" fmla="*/ 88 w 595"/>
                <a:gd name="T33" fmla="*/ 507 h 594"/>
                <a:gd name="T34" fmla="*/ 298 w 595"/>
                <a:gd name="T35" fmla="*/ 594 h 594"/>
                <a:gd name="T36" fmla="*/ 508 w 595"/>
                <a:gd name="T37" fmla="*/ 507 h 594"/>
                <a:gd name="T38" fmla="*/ 595 w 595"/>
                <a:gd name="T39" fmla="*/ 297 h 594"/>
                <a:gd name="T40" fmla="*/ 583 w 595"/>
                <a:gd name="T41" fmla="*/ 297 h 5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95" h="594">
                  <a:moveTo>
                    <a:pt x="583" y="297"/>
                  </a:moveTo>
                  <a:cubicBezTo>
                    <a:pt x="571" y="297"/>
                    <a:pt x="571" y="297"/>
                    <a:pt x="571" y="297"/>
                  </a:cubicBezTo>
                  <a:cubicBezTo>
                    <a:pt x="571" y="373"/>
                    <a:pt x="541" y="441"/>
                    <a:pt x="491" y="490"/>
                  </a:cubicBezTo>
                  <a:cubicBezTo>
                    <a:pt x="442" y="540"/>
                    <a:pt x="373" y="570"/>
                    <a:pt x="298" y="570"/>
                  </a:cubicBezTo>
                  <a:cubicBezTo>
                    <a:pt x="222" y="570"/>
                    <a:pt x="154" y="540"/>
                    <a:pt x="105" y="490"/>
                  </a:cubicBezTo>
                  <a:cubicBezTo>
                    <a:pt x="55" y="441"/>
                    <a:pt x="24" y="373"/>
                    <a:pt x="24" y="297"/>
                  </a:cubicBezTo>
                  <a:cubicBezTo>
                    <a:pt x="24" y="222"/>
                    <a:pt x="55" y="153"/>
                    <a:pt x="105" y="104"/>
                  </a:cubicBezTo>
                  <a:cubicBezTo>
                    <a:pt x="154" y="54"/>
                    <a:pt x="222" y="24"/>
                    <a:pt x="298" y="24"/>
                  </a:cubicBezTo>
                  <a:cubicBezTo>
                    <a:pt x="373" y="24"/>
                    <a:pt x="442" y="54"/>
                    <a:pt x="491" y="104"/>
                  </a:cubicBezTo>
                  <a:cubicBezTo>
                    <a:pt x="541" y="153"/>
                    <a:pt x="571" y="222"/>
                    <a:pt x="571" y="297"/>
                  </a:cubicBezTo>
                  <a:cubicBezTo>
                    <a:pt x="583" y="297"/>
                    <a:pt x="583" y="297"/>
                    <a:pt x="583" y="297"/>
                  </a:cubicBezTo>
                  <a:cubicBezTo>
                    <a:pt x="595" y="297"/>
                    <a:pt x="595" y="297"/>
                    <a:pt x="595" y="297"/>
                  </a:cubicBezTo>
                  <a:cubicBezTo>
                    <a:pt x="595" y="215"/>
                    <a:pt x="562" y="141"/>
                    <a:pt x="508" y="87"/>
                  </a:cubicBezTo>
                  <a:cubicBezTo>
                    <a:pt x="454" y="33"/>
                    <a:pt x="380" y="0"/>
                    <a:pt x="298" y="0"/>
                  </a:cubicBezTo>
                  <a:cubicBezTo>
                    <a:pt x="216" y="0"/>
                    <a:pt x="141" y="33"/>
                    <a:pt x="88" y="87"/>
                  </a:cubicBezTo>
                  <a:cubicBezTo>
                    <a:pt x="34" y="141"/>
                    <a:pt x="0" y="215"/>
                    <a:pt x="0" y="297"/>
                  </a:cubicBezTo>
                  <a:cubicBezTo>
                    <a:pt x="0" y="379"/>
                    <a:pt x="34" y="454"/>
                    <a:pt x="88" y="507"/>
                  </a:cubicBezTo>
                  <a:cubicBezTo>
                    <a:pt x="141" y="561"/>
                    <a:pt x="216" y="594"/>
                    <a:pt x="298" y="594"/>
                  </a:cubicBezTo>
                  <a:cubicBezTo>
                    <a:pt x="380" y="594"/>
                    <a:pt x="454" y="561"/>
                    <a:pt x="508" y="507"/>
                  </a:cubicBezTo>
                  <a:cubicBezTo>
                    <a:pt x="562" y="454"/>
                    <a:pt x="595" y="379"/>
                    <a:pt x="595" y="297"/>
                  </a:cubicBezTo>
                  <a:lnTo>
                    <a:pt x="583" y="297"/>
                  </a:lnTo>
                  <a:close/>
                </a:path>
              </a:pathLst>
            </a:custGeom>
            <a:solidFill>
              <a:srgbClr val="7AC2F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150" name="Group 149">
              <a:extLst>
                <a:ext uri="{FF2B5EF4-FFF2-40B4-BE49-F238E27FC236}">
                  <a16:creationId xmlns:a16="http://schemas.microsoft.com/office/drawing/2014/main" id="{83D9F53E-E0B0-4B5F-94F2-32019F7FBFD8}"/>
                </a:ext>
              </a:extLst>
            </p:cNvPr>
            <p:cNvGrpSpPr/>
            <p:nvPr/>
          </p:nvGrpSpPr>
          <p:grpSpPr>
            <a:xfrm>
              <a:off x="6581671" y="2870913"/>
              <a:ext cx="211138" cy="344488"/>
              <a:chOff x="4613275" y="2108200"/>
              <a:chExt cx="211138" cy="344488"/>
            </a:xfrm>
          </p:grpSpPr>
          <p:sp>
            <p:nvSpPr>
              <p:cNvPr id="158" name="Freeform 233">
                <a:extLst>
                  <a:ext uri="{FF2B5EF4-FFF2-40B4-BE49-F238E27FC236}">
                    <a16:creationId xmlns:a16="http://schemas.microsoft.com/office/drawing/2014/main" id="{81D77E4D-8CB9-4140-9EB0-F069BD9BBFE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13275" y="2228850"/>
                <a:ext cx="128588" cy="223838"/>
              </a:xfrm>
              <a:custGeom>
                <a:avLst/>
                <a:gdLst>
                  <a:gd name="T0" fmla="*/ 51 w 81"/>
                  <a:gd name="T1" fmla="*/ 141 h 141"/>
                  <a:gd name="T2" fmla="*/ 33 w 81"/>
                  <a:gd name="T3" fmla="*/ 103 h 141"/>
                  <a:gd name="T4" fmla="*/ 0 w 81"/>
                  <a:gd name="T5" fmla="*/ 129 h 141"/>
                  <a:gd name="T6" fmla="*/ 30 w 81"/>
                  <a:gd name="T7" fmla="*/ 0 h 141"/>
                  <a:gd name="T8" fmla="*/ 81 w 81"/>
                  <a:gd name="T9" fmla="*/ 12 h 141"/>
                  <a:gd name="T10" fmla="*/ 51 w 81"/>
                  <a:gd name="T11" fmla="*/ 141 h 1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1" h="141">
                    <a:moveTo>
                      <a:pt x="51" y="141"/>
                    </a:moveTo>
                    <a:lnTo>
                      <a:pt x="33" y="103"/>
                    </a:lnTo>
                    <a:lnTo>
                      <a:pt x="0" y="129"/>
                    </a:lnTo>
                    <a:lnTo>
                      <a:pt x="30" y="0"/>
                    </a:lnTo>
                    <a:lnTo>
                      <a:pt x="81" y="12"/>
                    </a:lnTo>
                    <a:lnTo>
                      <a:pt x="51" y="141"/>
                    </a:lnTo>
                    <a:close/>
                  </a:path>
                </a:pathLst>
              </a:custGeom>
              <a:solidFill>
                <a:srgbClr val="E4F3FE"/>
              </a:solidFill>
              <a:ln w="20638" cap="rnd">
                <a:solidFill>
                  <a:srgbClr val="7AC2F9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9" name="Freeform 234">
                <a:extLst>
                  <a:ext uri="{FF2B5EF4-FFF2-40B4-BE49-F238E27FC236}">
                    <a16:creationId xmlns:a16="http://schemas.microsoft.com/office/drawing/2014/main" id="{A4329F6E-23BD-4525-B006-05A8DB591C5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95825" y="2228850"/>
                <a:ext cx="128588" cy="223838"/>
              </a:xfrm>
              <a:custGeom>
                <a:avLst/>
                <a:gdLst>
                  <a:gd name="T0" fmla="*/ 30 w 81"/>
                  <a:gd name="T1" fmla="*/ 141 h 141"/>
                  <a:gd name="T2" fmla="*/ 48 w 81"/>
                  <a:gd name="T3" fmla="*/ 103 h 141"/>
                  <a:gd name="T4" fmla="*/ 81 w 81"/>
                  <a:gd name="T5" fmla="*/ 129 h 141"/>
                  <a:gd name="T6" fmla="*/ 51 w 81"/>
                  <a:gd name="T7" fmla="*/ 0 h 141"/>
                  <a:gd name="T8" fmla="*/ 0 w 81"/>
                  <a:gd name="T9" fmla="*/ 12 h 141"/>
                  <a:gd name="T10" fmla="*/ 30 w 81"/>
                  <a:gd name="T11" fmla="*/ 141 h 1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1" h="141">
                    <a:moveTo>
                      <a:pt x="30" y="141"/>
                    </a:moveTo>
                    <a:lnTo>
                      <a:pt x="48" y="103"/>
                    </a:lnTo>
                    <a:lnTo>
                      <a:pt x="81" y="129"/>
                    </a:lnTo>
                    <a:lnTo>
                      <a:pt x="51" y="0"/>
                    </a:lnTo>
                    <a:lnTo>
                      <a:pt x="0" y="12"/>
                    </a:lnTo>
                    <a:lnTo>
                      <a:pt x="30" y="141"/>
                    </a:lnTo>
                    <a:close/>
                  </a:path>
                </a:pathLst>
              </a:custGeom>
              <a:solidFill>
                <a:srgbClr val="E4F3FE"/>
              </a:solidFill>
              <a:ln w="20638" cap="rnd">
                <a:solidFill>
                  <a:srgbClr val="7AC2F9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60" name="Oval 235">
                <a:extLst>
                  <a:ext uri="{FF2B5EF4-FFF2-40B4-BE49-F238E27FC236}">
                    <a16:creationId xmlns:a16="http://schemas.microsoft.com/office/drawing/2014/main" id="{6C1CDCB2-AC78-4202-9AEC-D4EFEA34E86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613275" y="2108200"/>
                <a:ext cx="211138" cy="209550"/>
              </a:xfrm>
              <a:prstGeom prst="ellipse">
                <a:avLst/>
              </a:prstGeom>
              <a:solidFill>
                <a:srgbClr val="E4F3FE"/>
              </a:solidFill>
              <a:ln w="20638" cap="rnd">
                <a:solidFill>
                  <a:srgbClr val="7AC2F9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61" name="Freeform 236">
                <a:extLst>
                  <a:ext uri="{FF2B5EF4-FFF2-40B4-BE49-F238E27FC236}">
                    <a16:creationId xmlns:a16="http://schemas.microsoft.com/office/drawing/2014/main" id="{A00C1D2E-F616-47BB-B4F1-7CAF0CBB059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49788" y="2151063"/>
                <a:ext cx="138113" cy="131763"/>
              </a:xfrm>
              <a:custGeom>
                <a:avLst/>
                <a:gdLst>
                  <a:gd name="T0" fmla="*/ 128 w 169"/>
                  <a:gd name="T1" fmla="*/ 160 h 160"/>
                  <a:gd name="T2" fmla="*/ 121 w 169"/>
                  <a:gd name="T3" fmla="*/ 157 h 160"/>
                  <a:gd name="T4" fmla="*/ 84 w 169"/>
                  <a:gd name="T5" fmla="*/ 131 h 160"/>
                  <a:gd name="T6" fmla="*/ 47 w 169"/>
                  <a:gd name="T7" fmla="*/ 157 h 160"/>
                  <a:gd name="T8" fmla="*/ 40 w 169"/>
                  <a:gd name="T9" fmla="*/ 160 h 160"/>
                  <a:gd name="T10" fmla="*/ 33 w 169"/>
                  <a:gd name="T11" fmla="*/ 157 h 160"/>
                  <a:gd name="T12" fmla="*/ 29 w 169"/>
                  <a:gd name="T13" fmla="*/ 144 h 160"/>
                  <a:gd name="T14" fmla="*/ 43 w 169"/>
                  <a:gd name="T15" fmla="*/ 101 h 160"/>
                  <a:gd name="T16" fmla="*/ 6 w 169"/>
                  <a:gd name="T17" fmla="*/ 74 h 160"/>
                  <a:gd name="T18" fmla="*/ 2 w 169"/>
                  <a:gd name="T19" fmla="*/ 60 h 160"/>
                  <a:gd name="T20" fmla="*/ 13 w 169"/>
                  <a:gd name="T21" fmla="*/ 52 h 160"/>
                  <a:gd name="T22" fmla="*/ 59 w 169"/>
                  <a:gd name="T23" fmla="*/ 52 h 160"/>
                  <a:gd name="T24" fmla="*/ 73 w 169"/>
                  <a:gd name="T25" fmla="*/ 9 h 160"/>
                  <a:gd name="T26" fmla="*/ 84 w 169"/>
                  <a:gd name="T27" fmla="*/ 0 h 160"/>
                  <a:gd name="T28" fmla="*/ 96 w 169"/>
                  <a:gd name="T29" fmla="*/ 9 h 160"/>
                  <a:gd name="T30" fmla="*/ 110 w 169"/>
                  <a:gd name="T31" fmla="*/ 52 h 160"/>
                  <a:gd name="T32" fmla="*/ 156 w 169"/>
                  <a:gd name="T33" fmla="*/ 52 h 160"/>
                  <a:gd name="T34" fmla="*/ 167 w 169"/>
                  <a:gd name="T35" fmla="*/ 60 h 160"/>
                  <a:gd name="T36" fmla="*/ 163 w 169"/>
                  <a:gd name="T37" fmla="*/ 74 h 160"/>
                  <a:gd name="T38" fmla="*/ 126 w 169"/>
                  <a:gd name="T39" fmla="*/ 101 h 160"/>
                  <a:gd name="T40" fmla="*/ 140 w 169"/>
                  <a:gd name="T41" fmla="*/ 144 h 160"/>
                  <a:gd name="T42" fmla="*/ 135 w 169"/>
                  <a:gd name="T43" fmla="*/ 157 h 160"/>
                  <a:gd name="T44" fmla="*/ 128 w 169"/>
                  <a:gd name="T45" fmla="*/ 160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69" h="160">
                    <a:moveTo>
                      <a:pt x="128" y="160"/>
                    </a:moveTo>
                    <a:cubicBezTo>
                      <a:pt x="126" y="160"/>
                      <a:pt x="123" y="159"/>
                      <a:pt x="121" y="157"/>
                    </a:cubicBezTo>
                    <a:cubicBezTo>
                      <a:pt x="84" y="131"/>
                      <a:pt x="84" y="131"/>
                      <a:pt x="84" y="131"/>
                    </a:cubicBezTo>
                    <a:cubicBezTo>
                      <a:pt x="47" y="157"/>
                      <a:pt x="47" y="157"/>
                      <a:pt x="47" y="157"/>
                    </a:cubicBezTo>
                    <a:cubicBezTo>
                      <a:pt x="45" y="159"/>
                      <a:pt x="43" y="160"/>
                      <a:pt x="40" y="160"/>
                    </a:cubicBezTo>
                    <a:cubicBezTo>
                      <a:pt x="38" y="160"/>
                      <a:pt x="35" y="159"/>
                      <a:pt x="33" y="157"/>
                    </a:cubicBezTo>
                    <a:cubicBezTo>
                      <a:pt x="29" y="154"/>
                      <a:pt x="27" y="149"/>
                      <a:pt x="29" y="144"/>
                    </a:cubicBezTo>
                    <a:cubicBezTo>
                      <a:pt x="43" y="101"/>
                      <a:pt x="43" y="101"/>
                      <a:pt x="43" y="101"/>
                    </a:cubicBezTo>
                    <a:cubicBezTo>
                      <a:pt x="6" y="74"/>
                      <a:pt x="6" y="74"/>
                      <a:pt x="6" y="74"/>
                    </a:cubicBezTo>
                    <a:cubicBezTo>
                      <a:pt x="2" y="71"/>
                      <a:pt x="0" y="65"/>
                      <a:pt x="2" y="60"/>
                    </a:cubicBezTo>
                    <a:cubicBezTo>
                      <a:pt x="3" y="55"/>
                      <a:pt x="8" y="52"/>
                      <a:pt x="13" y="52"/>
                    </a:cubicBezTo>
                    <a:cubicBezTo>
                      <a:pt x="59" y="52"/>
                      <a:pt x="59" y="52"/>
                      <a:pt x="59" y="52"/>
                    </a:cubicBezTo>
                    <a:cubicBezTo>
                      <a:pt x="73" y="9"/>
                      <a:pt x="73" y="9"/>
                      <a:pt x="73" y="9"/>
                    </a:cubicBezTo>
                    <a:cubicBezTo>
                      <a:pt x="75" y="4"/>
                      <a:pt x="79" y="0"/>
                      <a:pt x="84" y="0"/>
                    </a:cubicBezTo>
                    <a:cubicBezTo>
                      <a:pt x="90" y="0"/>
                      <a:pt x="94" y="4"/>
                      <a:pt x="96" y="9"/>
                    </a:cubicBezTo>
                    <a:cubicBezTo>
                      <a:pt x="110" y="52"/>
                      <a:pt x="110" y="52"/>
                      <a:pt x="110" y="52"/>
                    </a:cubicBezTo>
                    <a:cubicBezTo>
                      <a:pt x="156" y="52"/>
                      <a:pt x="156" y="52"/>
                      <a:pt x="156" y="52"/>
                    </a:cubicBezTo>
                    <a:cubicBezTo>
                      <a:pt x="161" y="52"/>
                      <a:pt x="165" y="55"/>
                      <a:pt x="167" y="60"/>
                    </a:cubicBezTo>
                    <a:cubicBezTo>
                      <a:pt x="169" y="65"/>
                      <a:pt x="167" y="71"/>
                      <a:pt x="163" y="74"/>
                    </a:cubicBezTo>
                    <a:cubicBezTo>
                      <a:pt x="126" y="101"/>
                      <a:pt x="126" y="101"/>
                      <a:pt x="126" y="101"/>
                    </a:cubicBezTo>
                    <a:cubicBezTo>
                      <a:pt x="140" y="144"/>
                      <a:pt x="140" y="144"/>
                      <a:pt x="140" y="144"/>
                    </a:cubicBezTo>
                    <a:cubicBezTo>
                      <a:pt x="141" y="149"/>
                      <a:pt x="140" y="154"/>
                      <a:pt x="135" y="157"/>
                    </a:cubicBezTo>
                    <a:cubicBezTo>
                      <a:pt x="133" y="159"/>
                      <a:pt x="131" y="160"/>
                      <a:pt x="128" y="160"/>
                    </a:cubicBezTo>
                    <a:close/>
                  </a:path>
                </a:pathLst>
              </a:custGeom>
              <a:solidFill>
                <a:srgbClr val="E4F3F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62" name="Freeform 237">
                <a:extLst>
                  <a:ext uri="{FF2B5EF4-FFF2-40B4-BE49-F238E27FC236}">
                    <a16:creationId xmlns:a16="http://schemas.microsoft.com/office/drawing/2014/main" id="{697EAED3-C41C-4A61-933A-E1561CBEBDD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638675" y="2141538"/>
                <a:ext cx="158750" cy="150813"/>
              </a:xfrm>
              <a:custGeom>
                <a:avLst/>
                <a:gdLst>
                  <a:gd name="T0" fmla="*/ 97 w 193"/>
                  <a:gd name="T1" fmla="*/ 24 h 184"/>
                  <a:gd name="T2" fmla="*/ 114 w 193"/>
                  <a:gd name="T3" fmla="*/ 76 h 184"/>
                  <a:gd name="T4" fmla="*/ 169 w 193"/>
                  <a:gd name="T5" fmla="*/ 76 h 184"/>
                  <a:gd name="T6" fmla="*/ 125 w 193"/>
                  <a:gd name="T7" fmla="*/ 108 h 184"/>
                  <a:gd name="T8" fmla="*/ 141 w 193"/>
                  <a:gd name="T9" fmla="*/ 160 h 184"/>
                  <a:gd name="T10" fmla="*/ 97 w 193"/>
                  <a:gd name="T11" fmla="*/ 128 h 184"/>
                  <a:gd name="T12" fmla="*/ 53 w 193"/>
                  <a:gd name="T13" fmla="*/ 160 h 184"/>
                  <a:gd name="T14" fmla="*/ 70 w 193"/>
                  <a:gd name="T15" fmla="*/ 108 h 184"/>
                  <a:gd name="T16" fmla="*/ 26 w 193"/>
                  <a:gd name="T17" fmla="*/ 76 h 184"/>
                  <a:gd name="T18" fmla="*/ 81 w 193"/>
                  <a:gd name="T19" fmla="*/ 76 h 184"/>
                  <a:gd name="T20" fmla="*/ 97 w 193"/>
                  <a:gd name="T21" fmla="*/ 24 h 184"/>
                  <a:gd name="T22" fmla="*/ 169 w 193"/>
                  <a:gd name="T23" fmla="*/ 76 h 184"/>
                  <a:gd name="T24" fmla="*/ 169 w 193"/>
                  <a:gd name="T25" fmla="*/ 76 h 184"/>
                  <a:gd name="T26" fmla="*/ 97 w 193"/>
                  <a:gd name="T27" fmla="*/ 0 h 184"/>
                  <a:gd name="T28" fmla="*/ 75 w 193"/>
                  <a:gd name="T29" fmla="*/ 17 h 184"/>
                  <a:gd name="T30" fmla="*/ 63 w 193"/>
                  <a:gd name="T31" fmla="*/ 52 h 184"/>
                  <a:gd name="T32" fmla="*/ 26 w 193"/>
                  <a:gd name="T33" fmla="*/ 52 h 184"/>
                  <a:gd name="T34" fmla="*/ 3 w 193"/>
                  <a:gd name="T35" fmla="*/ 69 h 184"/>
                  <a:gd name="T36" fmla="*/ 12 w 193"/>
                  <a:gd name="T37" fmla="*/ 95 h 184"/>
                  <a:gd name="T38" fmla="*/ 42 w 193"/>
                  <a:gd name="T39" fmla="*/ 117 h 184"/>
                  <a:gd name="T40" fmla="*/ 31 w 193"/>
                  <a:gd name="T41" fmla="*/ 152 h 184"/>
                  <a:gd name="T42" fmla="*/ 39 w 193"/>
                  <a:gd name="T43" fmla="*/ 179 h 184"/>
                  <a:gd name="T44" fmla="*/ 53 w 193"/>
                  <a:gd name="T45" fmla="*/ 184 h 184"/>
                  <a:gd name="T46" fmla="*/ 68 w 193"/>
                  <a:gd name="T47" fmla="*/ 179 h 184"/>
                  <a:gd name="T48" fmla="*/ 97 w 193"/>
                  <a:gd name="T49" fmla="*/ 157 h 184"/>
                  <a:gd name="T50" fmla="*/ 127 w 193"/>
                  <a:gd name="T51" fmla="*/ 179 h 184"/>
                  <a:gd name="T52" fmla="*/ 141 w 193"/>
                  <a:gd name="T53" fmla="*/ 184 h 184"/>
                  <a:gd name="T54" fmla="*/ 155 w 193"/>
                  <a:gd name="T55" fmla="*/ 179 h 184"/>
                  <a:gd name="T56" fmla="*/ 164 w 193"/>
                  <a:gd name="T57" fmla="*/ 152 h 184"/>
                  <a:gd name="T58" fmla="*/ 153 w 193"/>
                  <a:gd name="T59" fmla="*/ 117 h 184"/>
                  <a:gd name="T60" fmla="*/ 182 w 193"/>
                  <a:gd name="T61" fmla="*/ 96 h 184"/>
                  <a:gd name="T62" fmla="*/ 193 w 193"/>
                  <a:gd name="T63" fmla="*/ 76 h 184"/>
                  <a:gd name="T64" fmla="*/ 169 w 193"/>
                  <a:gd name="T65" fmla="*/ 52 h 184"/>
                  <a:gd name="T66" fmla="*/ 169 w 193"/>
                  <a:gd name="T67" fmla="*/ 52 h 184"/>
                  <a:gd name="T68" fmla="*/ 132 w 193"/>
                  <a:gd name="T69" fmla="*/ 52 h 184"/>
                  <a:gd name="T70" fmla="*/ 120 w 193"/>
                  <a:gd name="T71" fmla="*/ 17 h 184"/>
                  <a:gd name="T72" fmla="*/ 97 w 193"/>
                  <a:gd name="T73" fmla="*/ 0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193" h="184">
                    <a:moveTo>
                      <a:pt x="97" y="24"/>
                    </a:moveTo>
                    <a:cubicBezTo>
                      <a:pt x="114" y="76"/>
                      <a:pt x="114" y="76"/>
                      <a:pt x="114" y="76"/>
                    </a:cubicBezTo>
                    <a:cubicBezTo>
                      <a:pt x="169" y="76"/>
                      <a:pt x="169" y="76"/>
                      <a:pt x="169" y="76"/>
                    </a:cubicBezTo>
                    <a:cubicBezTo>
                      <a:pt x="125" y="108"/>
                      <a:pt x="125" y="108"/>
                      <a:pt x="125" y="108"/>
                    </a:cubicBezTo>
                    <a:cubicBezTo>
                      <a:pt x="141" y="160"/>
                      <a:pt x="141" y="160"/>
                      <a:pt x="141" y="160"/>
                    </a:cubicBezTo>
                    <a:cubicBezTo>
                      <a:pt x="97" y="128"/>
                      <a:pt x="97" y="128"/>
                      <a:pt x="97" y="128"/>
                    </a:cubicBezTo>
                    <a:cubicBezTo>
                      <a:pt x="53" y="160"/>
                      <a:pt x="53" y="160"/>
                      <a:pt x="53" y="160"/>
                    </a:cubicBezTo>
                    <a:cubicBezTo>
                      <a:pt x="70" y="108"/>
                      <a:pt x="70" y="108"/>
                      <a:pt x="70" y="108"/>
                    </a:cubicBezTo>
                    <a:cubicBezTo>
                      <a:pt x="26" y="76"/>
                      <a:pt x="26" y="76"/>
                      <a:pt x="26" y="76"/>
                    </a:cubicBezTo>
                    <a:cubicBezTo>
                      <a:pt x="81" y="76"/>
                      <a:pt x="81" y="76"/>
                      <a:pt x="81" y="76"/>
                    </a:cubicBezTo>
                    <a:cubicBezTo>
                      <a:pt x="97" y="24"/>
                      <a:pt x="97" y="24"/>
                      <a:pt x="97" y="24"/>
                    </a:cubicBezTo>
                    <a:moveTo>
                      <a:pt x="169" y="76"/>
                    </a:moveTo>
                    <a:cubicBezTo>
                      <a:pt x="169" y="76"/>
                      <a:pt x="169" y="76"/>
                      <a:pt x="169" y="76"/>
                    </a:cubicBezTo>
                    <a:moveTo>
                      <a:pt x="97" y="0"/>
                    </a:moveTo>
                    <a:cubicBezTo>
                      <a:pt x="87" y="0"/>
                      <a:pt x="78" y="7"/>
                      <a:pt x="75" y="17"/>
                    </a:cubicBezTo>
                    <a:cubicBezTo>
                      <a:pt x="63" y="52"/>
                      <a:pt x="63" y="52"/>
                      <a:pt x="63" y="52"/>
                    </a:cubicBezTo>
                    <a:cubicBezTo>
                      <a:pt x="26" y="52"/>
                      <a:pt x="26" y="52"/>
                      <a:pt x="26" y="52"/>
                    </a:cubicBezTo>
                    <a:cubicBezTo>
                      <a:pt x="16" y="52"/>
                      <a:pt x="7" y="59"/>
                      <a:pt x="3" y="69"/>
                    </a:cubicBezTo>
                    <a:cubicBezTo>
                      <a:pt x="0" y="78"/>
                      <a:pt x="4" y="89"/>
                      <a:pt x="12" y="95"/>
                    </a:cubicBezTo>
                    <a:cubicBezTo>
                      <a:pt x="42" y="117"/>
                      <a:pt x="42" y="117"/>
                      <a:pt x="42" y="117"/>
                    </a:cubicBezTo>
                    <a:cubicBezTo>
                      <a:pt x="31" y="152"/>
                      <a:pt x="31" y="152"/>
                      <a:pt x="31" y="152"/>
                    </a:cubicBezTo>
                    <a:cubicBezTo>
                      <a:pt x="27" y="162"/>
                      <a:pt x="31" y="173"/>
                      <a:pt x="39" y="179"/>
                    </a:cubicBezTo>
                    <a:cubicBezTo>
                      <a:pt x="44" y="182"/>
                      <a:pt x="48" y="184"/>
                      <a:pt x="53" y="184"/>
                    </a:cubicBezTo>
                    <a:cubicBezTo>
                      <a:pt x="58" y="184"/>
                      <a:pt x="63" y="182"/>
                      <a:pt x="68" y="179"/>
                    </a:cubicBezTo>
                    <a:cubicBezTo>
                      <a:pt x="97" y="157"/>
                      <a:pt x="97" y="157"/>
                      <a:pt x="97" y="157"/>
                    </a:cubicBezTo>
                    <a:cubicBezTo>
                      <a:pt x="127" y="179"/>
                      <a:pt x="127" y="179"/>
                      <a:pt x="127" y="179"/>
                    </a:cubicBezTo>
                    <a:cubicBezTo>
                      <a:pt x="131" y="182"/>
                      <a:pt x="136" y="184"/>
                      <a:pt x="141" y="184"/>
                    </a:cubicBezTo>
                    <a:cubicBezTo>
                      <a:pt x="146" y="184"/>
                      <a:pt x="151" y="182"/>
                      <a:pt x="155" y="179"/>
                    </a:cubicBezTo>
                    <a:cubicBezTo>
                      <a:pt x="164" y="173"/>
                      <a:pt x="167" y="162"/>
                      <a:pt x="164" y="152"/>
                    </a:cubicBezTo>
                    <a:cubicBezTo>
                      <a:pt x="153" y="117"/>
                      <a:pt x="153" y="117"/>
                      <a:pt x="153" y="117"/>
                    </a:cubicBezTo>
                    <a:cubicBezTo>
                      <a:pt x="182" y="96"/>
                      <a:pt x="182" y="96"/>
                      <a:pt x="182" y="96"/>
                    </a:cubicBezTo>
                    <a:cubicBezTo>
                      <a:pt x="188" y="91"/>
                      <a:pt x="193" y="84"/>
                      <a:pt x="193" y="76"/>
                    </a:cubicBezTo>
                    <a:cubicBezTo>
                      <a:pt x="193" y="63"/>
                      <a:pt x="182" y="52"/>
                      <a:pt x="169" y="52"/>
                    </a:cubicBezTo>
                    <a:cubicBezTo>
                      <a:pt x="169" y="52"/>
                      <a:pt x="169" y="52"/>
                      <a:pt x="169" y="52"/>
                    </a:cubicBezTo>
                    <a:cubicBezTo>
                      <a:pt x="132" y="52"/>
                      <a:pt x="132" y="52"/>
                      <a:pt x="132" y="52"/>
                    </a:cubicBezTo>
                    <a:cubicBezTo>
                      <a:pt x="120" y="17"/>
                      <a:pt x="120" y="17"/>
                      <a:pt x="120" y="17"/>
                    </a:cubicBezTo>
                    <a:cubicBezTo>
                      <a:pt x="117" y="7"/>
                      <a:pt x="108" y="0"/>
                      <a:pt x="97" y="0"/>
                    </a:cubicBezTo>
                    <a:close/>
                  </a:path>
                </a:pathLst>
              </a:custGeom>
              <a:solidFill>
                <a:srgbClr val="7AC2F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sp>
          <p:nvSpPr>
            <p:cNvPr id="151" name="Rectangle 150">
              <a:extLst>
                <a:ext uri="{FF2B5EF4-FFF2-40B4-BE49-F238E27FC236}">
                  <a16:creationId xmlns:a16="http://schemas.microsoft.com/office/drawing/2014/main" id="{A958A9D9-4CEA-48A1-91C4-A00967656F89}"/>
                </a:ext>
              </a:extLst>
            </p:cNvPr>
            <p:cNvSpPr/>
            <p:nvPr/>
          </p:nvSpPr>
          <p:spPr>
            <a:xfrm>
              <a:off x="5528562" y="2045097"/>
              <a:ext cx="1034247" cy="551431"/>
            </a:xfrm>
            <a:prstGeom prst="rect">
              <a:avLst/>
            </a:prstGeom>
            <a:solidFill>
              <a:srgbClr val="FFFFFF"/>
            </a:solidFill>
            <a:ln w="22225">
              <a:solidFill>
                <a:srgbClr val="7AC2F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152" name="Group 151">
              <a:extLst>
                <a:ext uri="{FF2B5EF4-FFF2-40B4-BE49-F238E27FC236}">
                  <a16:creationId xmlns:a16="http://schemas.microsoft.com/office/drawing/2014/main" id="{A386B112-9F22-4E69-8618-44A919C3EF11}"/>
                </a:ext>
              </a:extLst>
            </p:cNvPr>
            <p:cNvGrpSpPr/>
            <p:nvPr/>
          </p:nvGrpSpPr>
          <p:grpSpPr>
            <a:xfrm>
              <a:off x="5941370" y="2165441"/>
              <a:ext cx="211138" cy="344488"/>
              <a:chOff x="4613275" y="2108200"/>
              <a:chExt cx="211138" cy="344488"/>
            </a:xfrm>
          </p:grpSpPr>
          <p:sp>
            <p:nvSpPr>
              <p:cNvPr id="153" name="Freeform 233">
                <a:extLst>
                  <a:ext uri="{FF2B5EF4-FFF2-40B4-BE49-F238E27FC236}">
                    <a16:creationId xmlns:a16="http://schemas.microsoft.com/office/drawing/2014/main" id="{BCCED8B5-5D10-4E40-B23A-14BF5DF592F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13275" y="2228850"/>
                <a:ext cx="128588" cy="223838"/>
              </a:xfrm>
              <a:custGeom>
                <a:avLst/>
                <a:gdLst>
                  <a:gd name="T0" fmla="*/ 51 w 81"/>
                  <a:gd name="T1" fmla="*/ 141 h 141"/>
                  <a:gd name="T2" fmla="*/ 33 w 81"/>
                  <a:gd name="T3" fmla="*/ 103 h 141"/>
                  <a:gd name="T4" fmla="*/ 0 w 81"/>
                  <a:gd name="T5" fmla="*/ 129 h 141"/>
                  <a:gd name="T6" fmla="*/ 30 w 81"/>
                  <a:gd name="T7" fmla="*/ 0 h 141"/>
                  <a:gd name="T8" fmla="*/ 81 w 81"/>
                  <a:gd name="T9" fmla="*/ 12 h 141"/>
                  <a:gd name="T10" fmla="*/ 51 w 81"/>
                  <a:gd name="T11" fmla="*/ 141 h 1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1" h="141">
                    <a:moveTo>
                      <a:pt x="51" y="141"/>
                    </a:moveTo>
                    <a:lnTo>
                      <a:pt x="33" y="103"/>
                    </a:lnTo>
                    <a:lnTo>
                      <a:pt x="0" y="129"/>
                    </a:lnTo>
                    <a:lnTo>
                      <a:pt x="30" y="0"/>
                    </a:lnTo>
                    <a:lnTo>
                      <a:pt x="81" y="12"/>
                    </a:lnTo>
                    <a:lnTo>
                      <a:pt x="51" y="141"/>
                    </a:lnTo>
                    <a:close/>
                  </a:path>
                </a:pathLst>
              </a:custGeom>
              <a:solidFill>
                <a:srgbClr val="E4F3FE"/>
              </a:solidFill>
              <a:ln w="22225" cap="rnd">
                <a:solidFill>
                  <a:srgbClr val="7AC2F9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4" name="Freeform 234">
                <a:extLst>
                  <a:ext uri="{FF2B5EF4-FFF2-40B4-BE49-F238E27FC236}">
                    <a16:creationId xmlns:a16="http://schemas.microsoft.com/office/drawing/2014/main" id="{F215233B-251E-468C-8E9B-9852A00784E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95825" y="2228850"/>
                <a:ext cx="128588" cy="223838"/>
              </a:xfrm>
              <a:custGeom>
                <a:avLst/>
                <a:gdLst>
                  <a:gd name="T0" fmla="*/ 30 w 81"/>
                  <a:gd name="T1" fmla="*/ 141 h 141"/>
                  <a:gd name="T2" fmla="*/ 48 w 81"/>
                  <a:gd name="T3" fmla="*/ 103 h 141"/>
                  <a:gd name="T4" fmla="*/ 81 w 81"/>
                  <a:gd name="T5" fmla="*/ 129 h 141"/>
                  <a:gd name="T6" fmla="*/ 51 w 81"/>
                  <a:gd name="T7" fmla="*/ 0 h 141"/>
                  <a:gd name="T8" fmla="*/ 0 w 81"/>
                  <a:gd name="T9" fmla="*/ 12 h 141"/>
                  <a:gd name="T10" fmla="*/ 30 w 81"/>
                  <a:gd name="T11" fmla="*/ 141 h 1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1" h="141">
                    <a:moveTo>
                      <a:pt x="30" y="141"/>
                    </a:moveTo>
                    <a:lnTo>
                      <a:pt x="48" y="103"/>
                    </a:lnTo>
                    <a:lnTo>
                      <a:pt x="81" y="129"/>
                    </a:lnTo>
                    <a:lnTo>
                      <a:pt x="51" y="0"/>
                    </a:lnTo>
                    <a:lnTo>
                      <a:pt x="0" y="12"/>
                    </a:lnTo>
                    <a:lnTo>
                      <a:pt x="30" y="141"/>
                    </a:lnTo>
                    <a:close/>
                  </a:path>
                </a:pathLst>
              </a:custGeom>
              <a:solidFill>
                <a:srgbClr val="E4F3FE"/>
              </a:solidFill>
              <a:ln w="22225" cap="rnd">
                <a:solidFill>
                  <a:srgbClr val="7AC2F9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5" name="Oval 235">
                <a:extLst>
                  <a:ext uri="{FF2B5EF4-FFF2-40B4-BE49-F238E27FC236}">
                    <a16:creationId xmlns:a16="http://schemas.microsoft.com/office/drawing/2014/main" id="{E71DFECA-A7B2-47F6-864A-4A6B16F59B2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613275" y="2108200"/>
                <a:ext cx="211138" cy="209550"/>
              </a:xfrm>
              <a:prstGeom prst="ellipse">
                <a:avLst/>
              </a:prstGeom>
              <a:solidFill>
                <a:srgbClr val="E4F3FE"/>
              </a:solidFill>
              <a:ln w="22225" cap="rnd">
                <a:solidFill>
                  <a:srgbClr val="7AC2F9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6" name="Freeform 236">
                <a:extLst>
                  <a:ext uri="{FF2B5EF4-FFF2-40B4-BE49-F238E27FC236}">
                    <a16:creationId xmlns:a16="http://schemas.microsoft.com/office/drawing/2014/main" id="{AEA1B327-C25D-4643-AE55-7D7A7929903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49788" y="2151063"/>
                <a:ext cx="138113" cy="131763"/>
              </a:xfrm>
              <a:custGeom>
                <a:avLst/>
                <a:gdLst>
                  <a:gd name="T0" fmla="*/ 128 w 169"/>
                  <a:gd name="T1" fmla="*/ 160 h 160"/>
                  <a:gd name="T2" fmla="*/ 121 w 169"/>
                  <a:gd name="T3" fmla="*/ 157 h 160"/>
                  <a:gd name="T4" fmla="*/ 84 w 169"/>
                  <a:gd name="T5" fmla="*/ 131 h 160"/>
                  <a:gd name="T6" fmla="*/ 47 w 169"/>
                  <a:gd name="T7" fmla="*/ 157 h 160"/>
                  <a:gd name="T8" fmla="*/ 40 w 169"/>
                  <a:gd name="T9" fmla="*/ 160 h 160"/>
                  <a:gd name="T10" fmla="*/ 33 w 169"/>
                  <a:gd name="T11" fmla="*/ 157 h 160"/>
                  <a:gd name="T12" fmla="*/ 29 w 169"/>
                  <a:gd name="T13" fmla="*/ 144 h 160"/>
                  <a:gd name="T14" fmla="*/ 43 w 169"/>
                  <a:gd name="T15" fmla="*/ 101 h 160"/>
                  <a:gd name="T16" fmla="*/ 6 w 169"/>
                  <a:gd name="T17" fmla="*/ 74 h 160"/>
                  <a:gd name="T18" fmla="*/ 2 w 169"/>
                  <a:gd name="T19" fmla="*/ 60 h 160"/>
                  <a:gd name="T20" fmla="*/ 13 w 169"/>
                  <a:gd name="T21" fmla="*/ 52 h 160"/>
                  <a:gd name="T22" fmla="*/ 59 w 169"/>
                  <a:gd name="T23" fmla="*/ 52 h 160"/>
                  <a:gd name="T24" fmla="*/ 73 w 169"/>
                  <a:gd name="T25" fmla="*/ 9 h 160"/>
                  <a:gd name="T26" fmla="*/ 84 w 169"/>
                  <a:gd name="T27" fmla="*/ 0 h 160"/>
                  <a:gd name="T28" fmla="*/ 96 w 169"/>
                  <a:gd name="T29" fmla="*/ 9 h 160"/>
                  <a:gd name="T30" fmla="*/ 110 w 169"/>
                  <a:gd name="T31" fmla="*/ 52 h 160"/>
                  <a:gd name="T32" fmla="*/ 156 w 169"/>
                  <a:gd name="T33" fmla="*/ 52 h 160"/>
                  <a:gd name="T34" fmla="*/ 167 w 169"/>
                  <a:gd name="T35" fmla="*/ 60 h 160"/>
                  <a:gd name="T36" fmla="*/ 163 w 169"/>
                  <a:gd name="T37" fmla="*/ 74 h 160"/>
                  <a:gd name="T38" fmla="*/ 126 w 169"/>
                  <a:gd name="T39" fmla="*/ 101 h 160"/>
                  <a:gd name="T40" fmla="*/ 140 w 169"/>
                  <a:gd name="T41" fmla="*/ 144 h 160"/>
                  <a:gd name="T42" fmla="*/ 135 w 169"/>
                  <a:gd name="T43" fmla="*/ 157 h 160"/>
                  <a:gd name="T44" fmla="*/ 128 w 169"/>
                  <a:gd name="T45" fmla="*/ 160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69" h="160">
                    <a:moveTo>
                      <a:pt x="128" y="160"/>
                    </a:moveTo>
                    <a:cubicBezTo>
                      <a:pt x="126" y="160"/>
                      <a:pt x="123" y="159"/>
                      <a:pt x="121" y="157"/>
                    </a:cubicBezTo>
                    <a:cubicBezTo>
                      <a:pt x="84" y="131"/>
                      <a:pt x="84" y="131"/>
                      <a:pt x="84" y="131"/>
                    </a:cubicBezTo>
                    <a:cubicBezTo>
                      <a:pt x="47" y="157"/>
                      <a:pt x="47" y="157"/>
                      <a:pt x="47" y="157"/>
                    </a:cubicBezTo>
                    <a:cubicBezTo>
                      <a:pt x="45" y="159"/>
                      <a:pt x="43" y="160"/>
                      <a:pt x="40" y="160"/>
                    </a:cubicBezTo>
                    <a:cubicBezTo>
                      <a:pt x="38" y="160"/>
                      <a:pt x="35" y="159"/>
                      <a:pt x="33" y="157"/>
                    </a:cubicBezTo>
                    <a:cubicBezTo>
                      <a:pt x="29" y="154"/>
                      <a:pt x="27" y="149"/>
                      <a:pt x="29" y="144"/>
                    </a:cubicBezTo>
                    <a:cubicBezTo>
                      <a:pt x="43" y="101"/>
                      <a:pt x="43" y="101"/>
                      <a:pt x="43" y="101"/>
                    </a:cubicBezTo>
                    <a:cubicBezTo>
                      <a:pt x="6" y="74"/>
                      <a:pt x="6" y="74"/>
                      <a:pt x="6" y="74"/>
                    </a:cubicBezTo>
                    <a:cubicBezTo>
                      <a:pt x="2" y="71"/>
                      <a:pt x="0" y="65"/>
                      <a:pt x="2" y="60"/>
                    </a:cubicBezTo>
                    <a:cubicBezTo>
                      <a:pt x="3" y="55"/>
                      <a:pt x="8" y="52"/>
                      <a:pt x="13" y="52"/>
                    </a:cubicBezTo>
                    <a:cubicBezTo>
                      <a:pt x="59" y="52"/>
                      <a:pt x="59" y="52"/>
                      <a:pt x="59" y="52"/>
                    </a:cubicBezTo>
                    <a:cubicBezTo>
                      <a:pt x="73" y="9"/>
                      <a:pt x="73" y="9"/>
                      <a:pt x="73" y="9"/>
                    </a:cubicBezTo>
                    <a:cubicBezTo>
                      <a:pt x="75" y="4"/>
                      <a:pt x="79" y="0"/>
                      <a:pt x="84" y="0"/>
                    </a:cubicBezTo>
                    <a:cubicBezTo>
                      <a:pt x="90" y="0"/>
                      <a:pt x="94" y="4"/>
                      <a:pt x="96" y="9"/>
                    </a:cubicBezTo>
                    <a:cubicBezTo>
                      <a:pt x="110" y="52"/>
                      <a:pt x="110" y="52"/>
                      <a:pt x="110" y="52"/>
                    </a:cubicBezTo>
                    <a:cubicBezTo>
                      <a:pt x="156" y="52"/>
                      <a:pt x="156" y="52"/>
                      <a:pt x="156" y="52"/>
                    </a:cubicBezTo>
                    <a:cubicBezTo>
                      <a:pt x="161" y="52"/>
                      <a:pt x="165" y="55"/>
                      <a:pt x="167" y="60"/>
                    </a:cubicBezTo>
                    <a:cubicBezTo>
                      <a:pt x="169" y="65"/>
                      <a:pt x="167" y="71"/>
                      <a:pt x="163" y="74"/>
                    </a:cubicBezTo>
                    <a:cubicBezTo>
                      <a:pt x="126" y="101"/>
                      <a:pt x="126" y="101"/>
                      <a:pt x="126" y="101"/>
                    </a:cubicBezTo>
                    <a:cubicBezTo>
                      <a:pt x="140" y="144"/>
                      <a:pt x="140" y="144"/>
                      <a:pt x="140" y="144"/>
                    </a:cubicBezTo>
                    <a:cubicBezTo>
                      <a:pt x="141" y="149"/>
                      <a:pt x="140" y="154"/>
                      <a:pt x="135" y="157"/>
                    </a:cubicBezTo>
                    <a:cubicBezTo>
                      <a:pt x="133" y="159"/>
                      <a:pt x="131" y="160"/>
                      <a:pt x="128" y="160"/>
                    </a:cubicBezTo>
                    <a:close/>
                  </a:path>
                </a:pathLst>
              </a:custGeom>
              <a:solidFill>
                <a:srgbClr val="E4F3F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7" name="Freeform 237">
                <a:extLst>
                  <a:ext uri="{FF2B5EF4-FFF2-40B4-BE49-F238E27FC236}">
                    <a16:creationId xmlns:a16="http://schemas.microsoft.com/office/drawing/2014/main" id="{705CE452-958C-41D9-A3A3-1CCFB38FC5D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638675" y="2141538"/>
                <a:ext cx="158750" cy="150813"/>
              </a:xfrm>
              <a:custGeom>
                <a:avLst/>
                <a:gdLst>
                  <a:gd name="T0" fmla="*/ 97 w 193"/>
                  <a:gd name="T1" fmla="*/ 24 h 184"/>
                  <a:gd name="T2" fmla="*/ 114 w 193"/>
                  <a:gd name="T3" fmla="*/ 76 h 184"/>
                  <a:gd name="T4" fmla="*/ 169 w 193"/>
                  <a:gd name="T5" fmla="*/ 76 h 184"/>
                  <a:gd name="T6" fmla="*/ 125 w 193"/>
                  <a:gd name="T7" fmla="*/ 108 h 184"/>
                  <a:gd name="T8" fmla="*/ 141 w 193"/>
                  <a:gd name="T9" fmla="*/ 160 h 184"/>
                  <a:gd name="T10" fmla="*/ 97 w 193"/>
                  <a:gd name="T11" fmla="*/ 128 h 184"/>
                  <a:gd name="T12" fmla="*/ 53 w 193"/>
                  <a:gd name="T13" fmla="*/ 160 h 184"/>
                  <a:gd name="T14" fmla="*/ 70 w 193"/>
                  <a:gd name="T15" fmla="*/ 108 h 184"/>
                  <a:gd name="T16" fmla="*/ 26 w 193"/>
                  <a:gd name="T17" fmla="*/ 76 h 184"/>
                  <a:gd name="T18" fmla="*/ 81 w 193"/>
                  <a:gd name="T19" fmla="*/ 76 h 184"/>
                  <a:gd name="T20" fmla="*/ 97 w 193"/>
                  <a:gd name="T21" fmla="*/ 24 h 184"/>
                  <a:gd name="T22" fmla="*/ 169 w 193"/>
                  <a:gd name="T23" fmla="*/ 76 h 184"/>
                  <a:gd name="T24" fmla="*/ 169 w 193"/>
                  <a:gd name="T25" fmla="*/ 76 h 184"/>
                  <a:gd name="T26" fmla="*/ 97 w 193"/>
                  <a:gd name="T27" fmla="*/ 0 h 184"/>
                  <a:gd name="T28" fmla="*/ 75 w 193"/>
                  <a:gd name="T29" fmla="*/ 17 h 184"/>
                  <a:gd name="T30" fmla="*/ 63 w 193"/>
                  <a:gd name="T31" fmla="*/ 52 h 184"/>
                  <a:gd name="T32" fmla="*/ 26 w 193"/>
                  <a:gd name="T33" fmla="*/ 52 h 184"/>
                  <a:gd name="T34" fmla="*/ 3 w 193"/>
                  <a:gd name="T35" fmla="*/ 69 h 184"/>
                  <a:gd name="T36" fmla="*/ 12 w 193"/>
                  <a:gd name="T37" fmla="*/ 95 h 184"/>
                  <a:gd name="T38" fmla="*/ 42 w 193"/>
                  <a:gd name="T39" fmla="*/ 117 h 184"/>
                  <a:gd name="T40" fmla="*/ 31 w 193"/>
                  <a:gd name="T41" fmla="*/ 152 h 184"/>
                  <a:gd name="T42" fmla="*/ 39 w 193"/>
                  <a:gd name="T43" fmla="*/ 179 h 184"/>
                  <a:gd name="T44" fmla="*/ 53 w 193"/>
                  <a:gd name="T45" fmla="*/ 184 h 184"/>
                  <a:gd name="T46" fmla="*/ 68 w 193"/>
                  <a:gd name="T47" fmla="*/ 179 h 184"/>
                  <a:gd name="T48" fmla="*/ 97 w 193"/>
                  <a:gd name="T49" fmla="*/ 157 h 184"/>
                  <a:gd name="T50" fmla="*/ 127 w 193"/>
                  <a:gd name="T51" fmla="*/ 179 h 184"/>
                  <a:gd name="T52" fmla="*/ 141 w 193"/>
                  <a:gd name="T53" fmla="*/ 184 h 184"/>
                  <a:gd name="T54" fmla="*/ 155 w 193"/>
                  <a:gd name="T55" fmla="*/ 179 h 184"/>
                  <a:gd name="T56" fmla="*/ 164 w 193"/>
                  <a:gd name="T57" fmla="*/ 152 h 184"/>
                  <a:gd name="T58" fmla="*/ 153 w 193"/>
                  <a:gd name="T59" fmla="*/ 117 h 184"/>
                  <a:gd name="T60" fmla="*/ 182 w 193"/>
                  <a:gd name="T61" fmla="*/ 96 h 184"/>
                  <a:gd name="T62" fmla="*/ 193 w 193"/>
                  <a:gd name="T63" fmla="*/ 76 h 184"/>
                  <a:gd name="T64" fmla="*/ 169 w 193"/>
                  <a:gd name="T65" fmla="*/ 52 h 184"/>
                  <a:gd name="T66" fmla="*/ 169 w 193"/>
                  <a:gd name="T67" fmla="*/ 52 h 184"/>
                  <a:gd name="T68" fmla="*/ 132 w 193"/>
                  <a:gd name="T69" fmla="*/ 52 h 184"/>
                  <a:gd name="T70" fmla="*/ 120 w 193"/>
                  <a:gd name="T71" fmla="*/ 17 h 184"/>
                  <a:gd name="T72" fmla="*/ 97 w 193"/>
                  <a:gd name="T73" fmla="*/ 0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193" h="184">
                    <a:moveTo>
                      <a:pt x="97" y="24"/>
                    </a:moveTo>
                    <a:cubicBezTo>
                      <a:pt x="114" y="76"/>
                      <a:pt x="114" y="76"/>
                      <a:pt x="114" y="76"/>
                    </a:cubicBezTo>
                    <a:cubicBezTo>
                      <a:pt x="169" y="76"/>
                      <a:pt x="169" y="76"/>
                      <a:pt x="169" y="76"/>
                    </a:cubicBezTo>
                    <a:cubicBezTo>
                      <a:pt x="125" y="108"/>
                      <a:pt x="125" y="108"/>
                      <a:pt x="125" y="108"/>
                    </a:cubicBezTo>
                    <a:cubicBezTo>
                      <a:pt x="141" y="160"/>
                      <a:pt x="141" y="160"/>
                      <a:pt x="141" y="160"/>
                    </a:cubicBezTo>
                    <a:cubicBezTo>
                      <a:pt x="97" y="128"/>
                      <a:pt x="97" y="128"/>
                      <a:pt x="97" y="128"/>
                    </a:cubicBezTo>
                    <a:cubicBezTo>
                      <a:pt x="53" y="160"/>
                      <a:pt x="53" y="160"/>
                      <a:pt x="53" y="160"/>
                    </a:cubicBezTo>
                    <a:cubicBezTo>
                      <a:pt x="70" y="108"/>
                      <a:pt x="70" y="108"/>
                      <a:pt x="70" y="108"/>
                    </a:cubicBezTo>
                    <a:cubicBezTo>
                      <a:pt x="26" y="76"/>
                      <a:pt x="26" y="76"/>
                      <a:pt x="26" y="76"/>
                    </a:cubicBezTo>
                    <a:cubicBezTo>
                      <a:pt x="81" y="76"/>
                      <a:pt x="81" y="76"/>
                      <a:pt x="81" y="76"/>
                    </a:cubicBezTo>
                    <a:cubicBezTo>
                      <a:pt x="97" y="24"/>
                      <a:pt x="97" y="24"/>
                      <a:pt x="97" y="24"/>
                    </a:cubicBezTo>
                    <a:moveTo>
                      <a:pt x="169" y="76"/>
                    </a:moveTo>
                    <a:cubicBezTo>
                      <a:pt x="169" y="76"/>
                      <a:pt x="169" y="76"/>
                      <a:pt x="169" y="76"/>
                    </a:cubicBezTo>
                    <a:moveTo>
                      <a:pt x="97" y="0"/>
                    </a:moveTo>
                    <a:cubicBezTo>
                      <a:pt x="87" y="0"/>
                      <a:pt x="78" y="7"/>
                      <a:pt x="75" y="17"/>
                    </a:cubicBezTo>
                    <a:cubicBezTo>
                      <a:pt x="63" y="52"/>
                      <a:pt x="63" y="52"/>
                      <a:pt x="63" y="52"/>
                    </a:cubicBezTo>
                    <a:cubicBezTo>
                      <a:pt x="26" y="52"/>
                      <a:pt x="26" y="52"/>
                      <a:pt x="26" y="52"/>
                    </a:cubicBezTo>
                    <a:cubicBezTo>
                      <a:pt x="16" y="52"/>
                      <a:pt x="7" y="59"/>
                      <a:pt x="3" y="69"/>
                    </a:cubicBezTo>
                    <a:cubicBezTo>
                      <a:pt x="0" y="78"/>
                      <a:pt x="4" y="89"/>
                      <a:pt x="12" y="95"/>
                    </a:cubicBezTo>
                    <a:cubicBezTo>
                      <a:pt x="42" y="117"/>
                      <a:pt x="42" y="117"/>
                      <a:pt x="42" y="117"/>
                    </a:cubicBezTo>
                    <a:cubicBezTo>
                      <a:pt x="31" y="152"/>
                      <a:pt x="31" y="152"/>
                      <a:pt x="31" y="152"/>
                    </a:cubicBezTo>
                    <a:cubicBezTo>
                      <a:pt x="27" y="162"/>
                      <a:pt x="31" y="173"/>
                      <a:pt x="39" y="179"/>
                    </a:cubicBezTo>
                    <a:cubicBezTo>
                      <a:pt x="44" y="182"/>
                      <a:pt x="48" y="184"/>
                      <a:pt x="53" y="184"/>
                    </a:cubicBezTo>
                    <a:cubicBezTo>
                      <a:pt x="58" y="184"/>
                      <a:pt x="63" y="182"/>
                      <a:pt x="68" y="179"/>
                    </a:cubicBezTo>
                    <a:cubicBezTo>
                      <a:pt x="97" y="157"/>
                      <a:pt x="97" y="157"/>
                      <a:pt x="97" y="157"/>
                    </a:cubicBezTo>
                    <a:cubicBezTo>
                      <a:pt x="127" y="179"/>
                      <a:pt x="127" y="179"/>
                      <a:pt x="127" y="179"/>
                    </a:cubicBezTo>
                    <a:cubicBezTo>
                      <a:pt x="131" y="182"/>
                      <a:pt x="136" y="184"/>
                      <a:pt x="141" y="184"/>
                    </a:cubicBezTo>
                    <a:cubicBezTo>
                      <a:pt x="146" y="184"/>
                      <a:pt x="151" y="182"/>
                      <a:pt x="155" y="179"/>
                    </a:cubicBezTo>
                    <a:cubicBezTo>
                      <a:pt x="164" y="173"/>
                      <a:pt x="167" y="162"/>
                      <a:pt x="164" y="152"/>
                    </a:cubicBezTo>
                    <a:cubicBezTo>
                      <a:pt x="153" y="117"/>
                      <a:pt x="153" y="117"/>
                      <a:pt x="153" y="117"/>
                    </a:cubicBezTo>
                    <a:cubicBezTo>
                      <a:pt x="182" y="96"/>
                      <a:pt x="182" y="96"/>
                      <a:pt x="182" y="96"/>
                    </a:cubicBezTo>
                    <a:cubicBezTo>
                      <a:pt x="188" y="91"/>
                      <a:pt x="193" y="84"/>
                      <a:pt x="193" y="76"/>
                    </a:cubicBezTo>
                    <a:cubicBezTo>
                      <a:pt x="193" y="63"/>
                      <a:pt x="182" y="52"/>
                      <a:pt x="169" y="52"/>
                    </a:cubicBezTo>
                    <a:cubicBezTo>
                      <a:pt x="169" y="52"/>
                      <a:pt x="169" y="52"/>
                      <a:pt x="169" y="52"/>
                    </a:cubicBezTo>
                    <a:cubicBezTo>
                      <a:pt x="132" y="52"/>
                      <a:pt x="132" y="52"/>
                      <a:pt x="132" y="52"/>
                    </a:cubicBezTo>
                    <a:cubicBezTo>
                      <a:pt x="120" y="17"/>
                      <a:pt x="120" y="17"/>
                      <a:pt x="120" y="17"/>
                    </a:cubicBezTo>
                    <a:cubicBezTo>
                      <a:pt x="117" y="7"/>
                      <a:pt x="108" y="0"/>
                      <a:pt x="97" y="0"/>
                    </a:cubicBezTo>
                    <a:close/>
                  </a:path>
                </a:pathLst>
              </a:custGeom>
              <a:solidFill>
                <a:srgbClr val="7AC2F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163" name="Rectangle 162">
            <a:extLst>
              <a:ext uri="{FF2B5EF4-FFF2-40B4-BE49-F238E27FC236}">
                <a16:creationId xmlns:a16="http://schemas.microsoft.com/office/drawing/2014/main" id="{9A254DE9-97CA-44C9-A491-B8D134E3627F}"/>
              </a:ext>
            </a:extLst>
          </p:cNvPr>
          <p:cNvSpPr/>
          <p:nvPr/>
        </p:nvSpPr>
        <p:spPr>
          <a:xfrm>
            <a:off x="8492063" y="3555141"/>
            <a:ext cx="2918438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NEED MORE SLIDES?</a:t>
            </a:r>
          </a:p>
        </p:txBody>
      </p:sp>
      <p:sp>
        <p:nvSpPr>
          <p:cNvPr id="164" name="Rectangle 163">
            <a:extLst>
              <a:ext uri="{FF2B5EF4-FFF2-40B4-BE49-F238E27FC236}">
                <a16:creationId xmlns:a16="http://schemas.microsoft.com/office/drawing/2014/main" id="{D8FA849A-F78C-4CB5-AF83-DB2B6DE7A67A}"/>
              </a:ext>
            </a:extLst>
          </p:cNvPr>
          <p:cNvSpPr/>
          <p:nvPr/>
        </p:nvSpPr>
        <p:spPr>
          <a:xfrm>
            <a:off x="8797990" y="3876180"/>
            <a:ext cx="2306584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Ask us about special enterprise pricing.</a:t>
            </a:r>
          </a:p>
        </p:txBody>
      </p:sp>
      <p:sp>
        <p:nvSpPr>
          <p:cNvPr id="184" name="Rounded Rectangle 109">
            <a:extLst>
              <a:ext uri="{FF2B5EF4-FFF2-40B4-BE49-F238E27FC236}">
                <a16:creationId xmlns:a16="http://schemas.microsoft.com/office/drawing/2014/main" id="{FE924B0A-EE56-47DC-A2B2-4E228E4169C0}"/>
              </a:ext>
            </a:extLst>
          </p:cNvPr>
          <p:cNvSpPr/>
          <p:nvPr/>
        </p:nvSpPr>
        <p:spPr>
          <a:xfrm>
            <a:off x="10744964" y="6914539"/>
            <a:ext cx="2094671" cy="354514"/>
          </a:xfrm>
          <a:prstGeom prst="roundRect">
            <a:avLst>
              <a:gd name="adj" fmla="val 5000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 panose="020F0302020204030204"/>
              <a:ea typeface="+mn-ea"/>
              <a:cs typeface="+mn-cs"/>
            </a:endParaRPr>
          </a:p>
        </p:txBody>
      </p:sp>
      <p:grpSp>
        <p:nvGrpSpPr>
          <p:cNvPr id="192" name="Group 191">
            <a:extLst>
              <a:ext uri="{FF2B5EF4-FFF2-40B4-BE49-F238E27FC236}">
                <a16:creationId xmlns:a16="http://schemas.microsoft.com/office/drawing/2014/main" id="{1BED403C-A43A-4B47-BB94-C2A67956DCC4}"/>
              </a:ext>
            </a:extLst>
          </p:cNvPr>
          <p:cNvGrpSpPr/>
          <p:nvPr/>
        </p:nvGrpSpPr>
        <p:grpSpPr>
          <a:xfrm>
            <a:off x="-1" y="4941426"/>
            <a:ext cx="12192000" cy="1909138"/>
            <a:chOff x="0" y="4948862"/>
            <a:chExt cx="12192000" cy="1909138"/>
          </a:xfrm>
        </p:grpSpPr>
        <p:sp>
          <p:nvSpPr>
            <p:cNvPr id="193" name="Freeform: Shape 192">
              <a:extLst>
                <a:ext uri="{FF2B5EF4-FFF2-40B4-BE49-F238E27FC236}">
                  <a16:creationId xmlns:a16="http://schemas.microsoft.com/office/drawing/2014/main" id="{45A43FA3-E6AD-4BC1-8F03-3B181CC959C7}"/>
                </a:ext>
              </a:extLst>
            </p:cNvPr>
            <p:cNvSpPr/>
            <p:nvPr/>
          </p:nvSpPr>
          <p:spPr>
            <a:xfrm>
              <a:off x="0" y="4948862"/>
              <a:ext cx="12192000" cy="1909138"/>
            </a:xfrm>
            <a:custGeom>
              <a:avLst/>
              <a:gdLst>
                <a:gd name="connsiteX0" fmla="*/ 0 w 12192000"/>
                <a:gd name="connsiteY0" fmla="*/ 0 h 1909138"/>
                <a:gd name="connsiteX1" fmla="*/ 227719 w 12192000"/>
                <a:gd name="connsiteY1" fmla="*/ 142350 h 1909138"/>
                <a:gd name="connsiteX2" fmla="*/ 6096001 w 12192000"/>
                <a:gd name="connsiteY2" fmla="*/ 1628919 h 1909138"/>
                <a:gd name="connsiteX3" fmla="*/ 11964283 w 12192000"/>
                <a:gd name="connsiteY3" fmla="*/ 142350 h 1909138"/>
                <a:gd name="connsiteX4" fmla="*/ 12192000 w 12192000"/>
                <a:gd name="connsiteY4" fmla="*/ 1 h 1909138"/>
                <a:gd name="connsiteX5" fmla="*/ 12192000 w 12192000"/>
                <a:gd name="connsiteY5" fmla="*/ 1909138 h 1909138"/>
                <a:gd name="connsiteX6" fmla="*/ 0 w 12192000"/>
                <a:gd name="connsiteY6" fmla="*/ 1909138 h 1909138"/>
                <a:gd name="connsiteX7" fmla="*/ 0 w 12192000"/>
                <a:gd name="connsiteY7" fmla="*/ 0 h 1909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2000" h="1909138">
                  <a:moveTo>
                    <a:pt x="0" y="0"/>
                  </a:moveTo>
                  <a:lnTo>
                    <a:pt x="227719" y="142350"/>
                  </a:lnTo>
                  <a:cubicBezTo>
                    <a:pt x="1777640" y="1065981"/>
                    <a:pt x="3836554" y="1628919"/>
                    <a:pt x="6096001" y="1628919"/>
                  </a:cubicBezTo>
                  <a:cubicBezTo>
                    <a:pt x="8355448" y="1628919"/>
                    <a:pt x="10414362" y="1065981"/>
                    <a:pt x="11964283" y="142350"/>
                  </a:cubicBezTo>
                  <a:lnTo>
                    <a:pt x="12192000" y="1"/>
                  </a:lnTo>
                  <a:lnTo>
                    <a:pt x="12192000" y="1909138"/>
                  </a:lnTo>
                  <a:lnTo>
                    <a:pt x="0" y="19091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8F1F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4" name="Freeform: Shape 193">
              <a:extLst>
                <a:ext uri="{FF2B5EF4-FFF2-40B4-BE49-F238E27FC236}">
                  <a16:creationId xmlns:a16="http://schemas.microsoft.com/office/drawing/2014/main" id="{A3F741A2-2517-494A-868D-957D47F779A9}"/>
                </a:ext>
              </a:extLst>
            </p:cNvPr>
            <p:cNvSpPr/>
            <p:nvPr/>
          </p:nvSpPr>
          <p:spPr>
            <a:xfrm>
              <a:off x="0" y="5563852"/>
              <a:ext cx="12192000" cy="1294147"/>
            </a:xfrm>
            <a:custGeom>
              <a:avLst/>
              <a:gdLst>
                <a:gd name="connsiteX0" fmla="*/ 0 w 12192000"/>
                <a:gd name="connsiteY0" fmla="*/ 0 h 1909138"/>
                <a:gd name="connsiteX1" fmla="*/ 227719 w 12192000"/>
                <a:gd name="connsiteY1" fmla="*/ 142350 h 1909138"/>
                <a:gd name="connsiteX2" fmla="*/ 6096001 w 12192000"/>
                <a:gd name="connsiteY2" fmla="*/ 1628919 h 1909138"/>
                <a:gd name="connsiteX3" fmla="*/ 11964283 w 12192000"/>
                <a:gd name="connsiteY3" fmla="*/ 142350 h 1909138"/>
                <a:gd name="connsiteX4" fmla="*/ 12192000 w 12192000"/>
                <a:gd name="connsiteY4" fmla="*/ 1 h 1909138"/>
                <a:gd name="connsiteX5" fmla="*/ 12192000 w 12192000"/>
                <a:gd name="connsiteY5" fmla="*/ 1909138 h 1909138"/>
                <a:gd name="connsiteX6" fmla="*/ 0 w 12192000"/>
                <a:gd name="connsiteY6" fmla="*/ 1909138 h 1909138"/>
                <a:gd name="connsiteX7" fmla="*/ 0 w 12192000"/>
                <a:gd name="connsiteY7" fmla="*/ 0 h 1909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2000" h="1909138">
                  <a:moveTo>
                    <a:pt x="0" y="0"/>
                  </a:moveTo>
                  <a:lnTo>
                    <a:pt x="227719" y="142350"/>
                  </a:lnTo>
                  <a:cubicBezTo>
                    <a:pt x="1777640" y="1065981"/>
                    <a:pt x="3836554" y="1628919"/>
                    <a:pt x="6096001" y="1628919"/>
                  </a:cubicBezTo>
                  <a:cubicBezTo>
                    <a:pt x="8355448" y="1628919"/>
                    <a:pt x="10414362" y="1065981"/>
                    <a:pt x="11964283" y="142350"/>
                  </a:cubicBezTo>
                  <a:lnTo>
                    <a:pt x="12192000" y="1"/>
                  </a:lnTo>
                  <a:lnTo>
                    <a:pt x="12192000" y="1909138"/>
                  </a:lnTo>
                  <a:lnTo>
                    <a:pt x="0" y="19091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7AC2F9">
                <a:alpha val="11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195" name="Group 194">
            <a:extLst>
              <a:ext uri="{FF2B5EF4-FFF2-40B4-BE49-F238E27FC236}">
                <a16:creationId xmlns:a16="http://schemas.microsoft.com/office/drawing/2014/main" id="{4FB97BD3-49D0-466F-B87A-29A1676F7288}"/>
              </a:ext>
            </a:extLst>
          </p:cNvPr>
          <p:cNvGrpSpPr/>
          <p:nvPr/>
        </p:nvGrpSpPr>
        <p:grpSpPr>
          <a:xfrm>
            <a:off x="10928712" y="6378850"/>
            <a:ext cx="947290" cy="270982"/>
            <a:chOff x="4103688" y="-2378075"/>
            <a:chExt cx="1309687" cy="374650"/>
          </a:xfrm>
          <a:solidFill>
            <a:srgbClr val="468DC3"/>
          </a:solidFill>
        </p:grpSpPr>
        <p:sp>
          <p:nvSpPr>
            <p:cNvPr id="196" name="Freeform 254">
              <a:extLst>
                <a:ext uri="{FF2B5EF4-FFF2-40B4-BE49-F238E27FC236}">
                  <a16:creationId xmlns:a16="http://schemas.microsoft.com/office/drawing/2014/main" id="{9F837505-F58C-430A-9373-2F8E4B18E6E4}"/>
                </a:ext>
              </a:extLst>
            </p:cNvPr>
            <p:cNvSpPr>
              <a:spLocks/>
            </p:cNvSpPr>
            <p:nvPr/>
          </p:nvSpPr>
          <p:spPr bwMode="auto">
            <a:xfrm>
              <a:off x="4103688" y="-2374900"/>
              <a:ext cx="182562" cy="288925"/>
            </a:xfrm>
            <a:custGeom>
              <a:avLst/>
              <a:gdLst>
                <a:gd name="T0" fmla="*/ 43 w 61"/>
                <a:gd name="T1" fmla="*/ 47 h 95"/>
                <a:gd name="T2" fmla="*/ 30 w 61"/>
                <a:gd name="T3" fmla="*/ 55 h 95"/>
                <a:gd name="T4" fmla="*/ 11 w 61"/>
                <a:gd name="T5" fmla="*/ 83 h 95"/>
                <a:gd name="T6" fmla="*/ 11 w 61"/>
                <a:gd name="T7" fmla="*/ 85 h 95"/>
                <a:gd name="T8" fmla="*/ 57 w 61"/>
                <a:gd name="T9" fmla="*/ 85 h 95"/>
                <a:gd name="T10" fmla="*/ 60 w 61"/>
                <a:gd name="T11" fmla="*/ 88 h 95"/>
                <a:gd name="T12" fmla="*/ 60 w 61"/>
                <a:gd name="T13" fmla="*/ 93 h 95"/>
                <a:gd name="T14" fmla="*/ 57 w 61"/>
                <a:gd name="T15" fmla="*/ 95 h 95"/>
                <a:gd name="T16" fmla="*/ 3 w 61"/>
                <a:gd name="T17" fmla="*/ 95 h 95"/>
                <a:gd name="T18" fmla="*/ 0 w 61"/>
                <a:gd name="T19" fmla="*/ 93 h 95"/>
                <a:gd name="T20" fmla="*/ 0 w 61"/>
                <a:gd name="T21" fmla="*/ 83 h 95"/>
                <a:gd name="T22" fmla="*/ 21 w 61"/>
                <a:gd name="T23" fmla="*/ 49 h 95"/>
                <a:gd name="T24" fmla="*/ 35 w 61"/>
                <a:gd name="T25" fmla="*/ 40 h 95"/>
                <a:gd name="T26" fmla="*/ 49 w 61"/>
                <a:gd name="T27" fmla="*/ 22 h 95"/>
                <a:gd name="T28" fmla="*/ 28 w 61"/>
                <a:gd name="T29" fmla="*/ 9 h 95"/>
                <a:gd name="T30" fmla="*/ 4 w 61"/>
                <a:gd name="T31" fmla="*/ 11 h 95"/>
                <a:gd name="T32" fmla="*/ 3 w 61"/>
                <a:gd name="T33" fmla="*/ 11 h 95"/>
                <a:gd name="T34" fmla="*/ 1 w 61"/>
                <a:gd name="T35" fmla="*/ 9 h 95"/>
                <a:gd name="T36" fmla="*/ 1 w 61"/>
                <a:gd name="T37" fmla="*/ 4 h 95"/>
                <a:gd name="T38" fmla="*/ 4 w 61"/>
                <a:gd name="T39" fmla="*/ 2 h 95"/>
                <a:gd name="T40" fmla="*/ 28 w 61"/>
                <a:gd name="T41" fmla="*/ 0 h 95"/>
                <a:gd name="T42" fmla="*/ 61 w 61"/>
                <a:gd name="T43" fmla="*/ 22 h 95"/>
                <a:gd name="T44" fmla="*/ 43 w 61"/>
                <a:gd name="T45" fmla="*/ 47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61" h="95">
                  <a:moveTo>
                    <a:pt x="43" y="47"/>
                  </a:moveTo>
                  <a:cubicBezTo>
                    <a:pt x="30" y="55"/>
                    <a:pt x="30" y="55"/>
                    <a:pt x="30" y="55"/>
                  </a:cubicBezTo>
                  <a:cubicBezTo>
                    <a:pt x="15" y="65"/>
                    <a:pt x="11" y="72"/>
                    <a:pt x="11" y="83"/>
                  </a:cubicBezTo>
                  <a:cubicBezTo>
                    <a:pt x="11" y="85"/>
                    <a:pt x="11" y="85"/>
                    <a:pt x="11" y="85"/>
                  </a:cubicBezTo>
                  <a:cubicBezTo>
                    <a:pt x="57" y="85"/>
                    <a:pt x="57" y="85"/>
                    <a:pt x="57" y="85"/>
                  </a:cubicBezTo>
                  <a:cubicBezTo>
                    <a:pt x="59" y="85"/>
                    <a:pt x="60" y="86"/>
                    <a:pt x="60" y="88"/>
                  </a:cubicBezTo>
                  <a:cubicBezTo>
                    <a:pt x="60" y="93"/>
                    <a:pt x="60" y="93"/>
                    <a:pt x="60" y="93"/>
                  </a:cubicBezTo>
                  <a:cubicBezTo>
                    <a:pt x="60" y="95"/>
                    <a:pt x="59" y="95"/>
                    <a:pt x="57" y="95"/>
                  </a:cubicBezTo>
                  <a:cubicBezTo>
                    <a:pt x="3" y="95"/>
                    <a:pt x="3" y="95"/>
                    <a:pt x="3" y="95"/>
                  </a:cubicBezTo>
                  <a:cubicBezTo>
                    <a:pt x="1" y="95"/>
                    <a:pt x="0" y="94"/>
                    <a:pt x="0" y="93"/>
                  </a:cubicBezTo>
                  <a:cubicBezTo>
                    <a:pt x="0" y="83"/>
                    <a:pt x="0" y="83"/>
                    <a:pt x="0" y="83"/>
                  </a:cubicBezTo>
                  <a:cubicBezTo>
                    <a:pt x="0" y="69"/>
                    <a:pt x="6" y="58"/>
                    <a:pt x="21" y="49"/>
                  </a:cubicBezTo>
                  <a:cubicBezTo>
                    <a:pt x="35" y="40"/>
                    <a:pt x="35" y="40"/>
                    <a:pt x="35" y="40"/>
                  </a:cubicBezTo>
                  <a:cubicBezTo>
                    <a:pt x="46" y="33"/>
                    <a:pt x="49" y="30"/>
                    <a:pt x="49" y="22"/>
                  </a:cubicBezTo>
                  <a:cubicBezTo>
                    <a:pt x="49" y="13"/>
                    <a:pt x="43" y="9"/>
                    <a:pt x="28" y="9"/>
                  </a:cubicBezTo>
                  <a:cubicBezTo>
                    <a:pt x="21" y="9"/>
                    <a:pt x="12" y="10"/>
                    <a:pt x="4" y="11"/>
                  </a:cubicBezTo>
                  <a:cubicBezTo>
                    <a:pt x="4" y="11"/>
                    <a:pt x="4" y="11"/>
                    <a:pt x="3" y="11"/>
                  </a:cubicBezTo>
                  <a:cubicBezTo>
                    <a:pt x="2" y="11"/>
                    <a:pt x="1" y="10"/>
                    <a:pt x="1" y="9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3"/>
                    <a:pt x="3" y="2"/>
                    <a:pt x="4" y="2"/>
                  </a:cubicBezTo>
                  <a:cubicBezTo>
                    <a:pt x="11" y="0"/>
                    <a:pt x="20" y="0"/>
                    <a:pt x="28" y="0"/>
                  </a:cubicBezTo>
                  <a:cubicBezTo>
                    <a:pt x="51" y="0"/>
                    <a:pt x="61" y="7"/>
                    <a:pt x="61" y="22"/>
                  </a:cubicBezTo>
                  <a:cubicBezTo>
                    <a:pt x="61" y="33"/>
                    <a:pt x="56" y="39"/>
                    <a:pt x="43" y="4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7" name="Freeform 255">
              <a:extLst>
                <a:ext uri="{FF2B5EF4-FFF2-40B4-BE49-F238E27FC236}">
                  <a16:creationId xmlns:a16="http://schemas.microsoft.com/office/drawing/2014/main" id="{2DC673B3-9598-40CF-9563-7116FF8E1C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08463" y="-2308225"/>
              <a:ext cx="211137" cy="304800"/>
            </a:xfrm>
            <a:custGeom>
              <a:avLst/>
              <a:gdLst>
                <a:gd name="T0" fmla="*/ 68 w 70"/>
                <a:gd name="T1" fmla="*/ 74 h 100"/>
                <a:gd name="T2" fmla="*/ 56 w 70"/>
                <a:gd name="T3" fmla="*/ 74 h 100"/>
                <a:gd name="T4" fmla="*/ 56 w 70"/>
                <a:gd name="T5" fmla="*/ 98 h 100"/>
                <a:gd name="T6" fmla="*/ 54 w 70"/>
                <a:gd name="T7" fmla="*/ 100 h 100"/>
                <a:gd name="T8" fmla="*/ 46 w 70"/>
                <a:gd name="T9" fmla="*/ 100 h 100"/>
                <a:gd name="T10" fmla="*/ 44 w 70"/>
                <a:gd name="T11" fmla="*/ 98 h 100"/>
                <a:gd name="T12" fmla="*/ 44 w 70"/>
                <a:gd name="T13" fmla="*/ 74 h 100"/>
                <a:gd name="T14" fmla="*/ 5 w 70"/>
                <a:gd name="T15" fmla="*/ 74 h 100"/>
                <a:gd name="T16" fmla="*/ 0 w 70"/>
                <a:gd name="T17" fmla="*/ 68 h 100"/>
                <a:gd name="T18" fmla="*/ 0 w 70"/>
                <a:gd name="T19" fmla="*/ 63 h 100"/>
                <a:gd name="T20" fmla="*/ 1 w 70"/>
                <a:gd name="T21" fmla="*/ 58 h 100"/>
                <a:gd name="T22" fmla="*/ 41 w 70"/>
                <a:gd name="T23" fmla="*/ 2 h 100"/>
                <a:gd name="T24" fmla="*/ 45 w 70"/>
                <a:gd name="T25" fmla="*/ 0 h 100"/>
                <a:gd name="T26" fmla="*/ 52 w 70"/>
                <a:gd name="T27" fmla="*/ 0 h 100"/>
                <a:gd name="T28" fmla="*/ 56 w 70"/>
                <a:gd name="T29" fmla="*/ 3 h 100"/>
                <a:gd name="T30" fmla="*/ 56 w 70"/>
                <a:gd name="T31" fmla="*/ 63 h 100"/>
                <a:gd name="T32" fmla="*/ 68 w 70"/>
                <a:gd name="T33" fmla="*/ 63 h 100"/>
                <a:gd name="T34" fmla="*/ 70 w 70"/>
                <a:gd name="T35" fmla="*/ 66 h 100"/>
                <a:gd name="T36" fmla="*/ 70 w 70"/>
                <a:gd name="T37" fmla="*/ 71 h 100"/>
                <a:gd name="T38" fmla="*/ 68 w 70"/>
                <a:gd name="T39" fmla="*/ 74 h 100"/>
                <a:gd name="T40" fmla="*/ 44 w 70"/>
                <a:gd name="T41" fmla="*/ 17 h 100"/>
                <a:gd name="T42" fmla="*/ 43 w 70"/>
                <a:gd name="T43" fmla="*/ 17 h 100"/>
                <a:gd name="T44" fmla="*/ 43 w 70"/>
                <a:gd name="T45" fmla="*/ 17 h 100"/>
                <a:gd name="T46" fmla="*/ 42 w 70"/>
                <a:gd name="T47" fmla="*/ 17 h 100"/>
                <a:gd name="T48" fmla="*/ 11 w 70"/>
                <a:gd name="T49" fmla="*/ 61 h 100"/>
                <a:gd name="T50" fmla="*/ 11 w 70"/>
                <a:gd name="T51" fmla="*/ 63 h 100"/>
                <a:gd name="T52" fmla="*/ 12 w 70"/>
                <a:gd name="T53" fmla="*/ 63 h 100"/>
                <a:gd name="T54" fmla="*/ 44 w 70"/>
                <a:gd name="T55" fmla="*/ 63 h 100"/>
                <a:gd name="T56" fmla="*/ 44 w 70"/>
                <a:gd name="T57" fmla="*/ 17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70" h="100">
                  <a:moveTo>
                    <a:pt x="68" y="74"/>
                  </a:moveTo>
                  <a:cubicBezTo>
                    <a:pt x="56" y="74"/>
                    <a:pt x="56" y="74"/>
                    <a:pt x="56" y="74"/>
                  </a:cubicBezTo>
                  <a:cubicBezTo>
                    <a:pt x="56" y="98"/>
                    <a:pt x="56" y="98"/>
                    <a:pt x="56" y="98"/>
                  </a:cubicBezTo>
                  <a:cubicBezTo>
                    <a:pt x="56" y="99"/>
                    <a:pt x="55" y="100"/>
                    <a:pt x="54" y="100"/>
                  </a:cubicBezTo>
                  <a:cubicBezTo>
                    <a:pt x="46" y="100"/>
                    <a:pt x="46" y="100"/>
                    <a:pt x="46" y="100"/>
                  </a:cubicBezTo>
                  <a:cubicBezTo>
                    <a:pt x="44" y="100"/>
                    <a:pt x="44" y="99"/>
                    <a:pt x="44" y="98"/>
                  </a:cubicBezTo>
                  <a:cubicBezTo>
                    <a:pt x="44" y="74"/>
                    <a:pt x="44" y="74"/>
                    <a:pt x="44" y="74"/>
                  </a:cubicBezTo>
                  <a:cubicBezTo>
                    <a:pt x="5" y="74"/>
                    <a:pt x="5" y="74"/>
                    <a:pt x="5" y="74"/>
                  </a:cubicBezTo>
                  <a:cubicBezTo>
                    <a:pt x="1" y="74"/>
                    <a:pt x="0" y="72"/>
                    <a:pt x="0" y="68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0" y="61"/>
                    <a:pt x="0" y="60"/>
                    <a:pt x="1" y="58"/>
                  </a:cubicBezTo>
                  <a:cubicBezTo>
                    <a:pt x="41" y="2"/>
                    <a:pt x="41" y="2"/>
                    <a:pt x="41" y="2"/>
                  </a:cubicBezTo>
                  <a:cubicBezTo>
                    <a:pt x="41" y="1"/>
                    <a:pt x="42" y="0"/>
                    <a:pt x="45" y="0"/>
                  </a:cubicBezTo>
                  <a:cubicBezTo>
                    <a:pt x="52" y="0"/>
                    <a:pt x="52" y="0"/>
                    <a:pt x="52" y="0"/>
                  </a:cubicBezTo>
                  <a:cubicBezTo>
                    <a:pt x="55" y="0"/>
                    <a:pt x="56" y="1"/>
                    <a:pt x="56" y="3"/>
                  </a:cubicBezTo>
                  <a:cubicBezTo>
                    <a:pt x="56" y="63"/>
                    <a:pt x="56" y="63"/>
                    <a:pt x="56" y="63"/>
                  </a:cubicBezTo>
                  <a:cubicBezTo>
                    <a:pt x="68" y="63"/>
                    <a:pt x="68" y="63"/>
                    <a:pt x="68" y="63"/>
                  </a:cubicBezTo>
                  <a:cubicBezTo>
                    <a:pt x="69" y="63"/>
                    <a:pt x="70" y="64"/>
                    <a:pt x="70" y="66"/>
                  </a:cubicBezTo>
                  <a:cubicBezTo>
                    <a:pt x="70" y="71"/>
                    <a:pt x="70" y="71"/>
                    <a:pt x="70" y="71"/>
                  </a:cubicBezTo>
                  <a:cubicBezTo>
                    <a:pt x="70" y="73"/>
                    <a:pt x="69" y="74"/>
                    <a:pt x="68" y="74"/>
                  </a:cubicBezTo>
                  <a:close/>
                  <a:moveTo>
                    <a:pt x="44" y="17"/>
                  </a:moveTo>
                  <a:cubicBezTo>
                    <a:pt x="44" y="17"/>
                    <a:pt x="44" y="17"/>
                    <a:pt x="43" y="17"/>
                  </a:cubicBezTo>
                  <a:cubicBezTo>
                    <a:pt x="43" y="17"/>
                    <a:pt x="43" y="17"/>
                    <a:pt x="43" y="17"/>
                  </a:cubicBezTo>
                  <a:cubicBezTo>
                    <a:pt x="43" y="17"/>
                    <a:pt x="42" y="17"/>
                    <a:pt x="42" y="17"/>
                  </a:cubicBezTo>
                  <a:cubicBezTo>
                    <a:pt x="11" y="61"/>
                    <a:pt x="11" y="61"/>
                    <a:pt x="11" y="61"/>
                  </a:cubicBezTo>
                  <a:cubicBezTo>
                    <a:pt x="11" y="62"/>
                    <a:pt x="11" y="62"/>
                    <a:pt x="11" y="63"/>
                  </a:cubicBezTo>
                  <a:cubicBezTo>
                    <a:pt x="11" y="63"/>
                    <a:pt x="11" y="63"/>
                    <a:pt x="12" y="63"/>
                  </a:cubicBezTo>
                  <a:cubicBezTo>
                    <a:pt x="44" y="63"/>
                    <a:pt x="44" y="63"/>
                    <a:pt x="44" y="63"/>
                  </a:cubicBezTo>
                  <a:lnTo>
                    <a:pt x="44" y="1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8" name="Freeform 256">
              <a:extLst>
                <a:ext uri="{FF2B5EF4-FFF2-40B4-BE49-F238E27FC236}">
                  <a16:creationId xmlns:a16="http://schemas.microsoft.com/office/drawing/2014/main" id="{64ED6B7C-5205-4F5A-94CF-B178038719EF}"/>
                </a:ext>
              </a:extLst>
            </p:cNvPr>
            <p:cNvSpPr>
              <a:spLocks/>
            </p:cNvSpPr>
            <p:nvPr/>
          </p:nvSpPr>
          <p:spPr bwMode="auto">
            <a:xfrm>
              <a:off x="4645025" y="-2374900"/>
              <a:ext cx="34925" cy="292100"/>
            </a:xfrm>
            <a:custGeom>
              <a:avLst/>
              <a:gdLst>
                <a:gd name="T0" fmla="*/ 11 w 12"/>
                <a:gd name="T1" fmla="*/ 95 h 96"/>
                <a:gd name="T2" fmla="*/ 10 w 12"/>
                <a:gd name="T3" fmla="*/ 96 h 96"/>
                <a:gd name="T4" fmla="*/ 3 w 12"/>
                <a:gd name="T5" fmla="*/ 96 h 96"/>
                <a:gd name="T6" fmla="*/ 1 w 12"/>
                <a:gd name="T7" fmla="*/ 95 h 96"/>
                <a:gd name="T8" fmla="*/ 0 w 12"/>
                <a:gd name="T9" fmla="*/ 93 h 96"/>
                <a:gd name="T10" fmla="*/ 0 w 12"/>
                <a:gd name="T11" fmla="*/ 2 h 96"/>
                <a:gd name="T12" fmla="*/ 1 w 12"/>
                <a:gd name="T13" fmla="*/ 1 h 96"/>
                <a:gd name="T14" fmla="*/ 3 w 12"/>
                <a:gd name="T15" fmla="*/ 0 h 96"/>
                <a:gd name="T16" fmla="*/ 10 w 12"/>
                <a:gd name="T17" fmla="*/ 0 h 96"/>
                <a:gd name="T18" fmla="*/ 11 w 12"/>
                <a:gd name="T19" fmla="*/ 1 h 96"/>
                <a:gd name="T20" fmla="*/ 12 w 12"/>
                <a:gd name="T21" fmla="*/ 2 h 96"/>
                <a:gd name="T22" fmla="*/ 12 w 12"/>
                <a:gd name="T23" fmla="*/ 93 h 96"/>
                <a:gd name="T24" fmla="*/ 11 w 12"/>
                <a:gd name="T25" fmla="*/ 95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" h="96">
                  <a:moveTo>
                    <a:pt x="11" y="95"/>
                  </a:moveTo>
                  <a:cubicBezTo>
                    <a:pt x="11" y="95"/>
                    <a:pt x="10" y="96"/>
                    <a:pt x="10" y="96"/>
                  </a:cubicBezTo>
                  <a:cubicBezTo>
                    <a:pt x="3" y="96"/>
                    <a:pt x="3" y="96"/>
                    <a:pt x="3" y="96"/>
                  </a:cubicBezTo>
                  <a:cubicBezTo>
                    <a:pt x="2" y="96"/>
                    <a:pt x="1" y="95"/>
                    <a:pt x="1" y="95"/>
                  </a:cubicBezTo>
                  <a:cubicBezTo>
                    <a:pt x="0" y="94"/>
                    <a:pt x="0" y="94"/>
                    <a:pt x="0" y="93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1"/>
                    <a:pt x="1" y="1"/>
                  </a:cubicBezTo>
                  <a:cubicBezTo>
                    <a:pt x="1" y="0"/>
                    <a:pt x="2" y="0"/>
                    <a:pt x="3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1" y="0"/>
                    <a:pt x="11" y="1"/>
                  </a:cubicBezTo>
                  <a:cubicBezTo>
                    <a:pt x="12" y="1"/>
                    <a:pt x="12" y="2"/>
                    <a:pt x="12" y="2"/>
                  </a:cubicBezTo>
                  <a:cubicBezTo>
                    <a:pt x="12" y="93"/>
                    <a:pt x="12" y="93"/>
                    <a:pt x="12" y="93"/>
                  </a:cubicBezTo>
                  <a:cubicBezTo>
                    <a:pt x="12" y="94"/>
                    <a:pt x="12" y="94"/>
                    <a:pt x="11" y="9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9" name="Freeform 257">
              <a:extLst>
                <a:ext uri="{FF2B5EF4-FFF2-40B4-BE49-F238E27FC236}">
                  <a16:creationId xmlns:a16="http://schemas.microsoft.com/office/drawing/2014/main" id="{502E8264-1E78-402C-8062-41904FCF686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43450" y="-2378075"/>
              <a:ext cx="36512" cy="295275"/>
            </a:xfrm>
            <a:custGeom>
              <a:avLst/>
              <a:gdLst>
                <a:gd name="T0" fmla="*/ 11 w 12"/>
                <a:gd name="T1" fmla="*/ 15 h 97"/>
                <a:gd name="T2" fmla="*/ 9 w 12"/>
                <a:gd name="T3" fmla="*/ 15 h 97"/>
                <a:gd name="T4" fmla="*/ 3 w 12"/>
                <a:gd name="T5" fmla="*/ 15 h 97"/>
                <a:gd name="T6" fmla="*/ 1 w 12"/>
                <a:gd name="T7" fmla="*/ 15 h 97"/>
                <a:gd name="T8" fmla="*/ 0 w 12"/>
                <a:gd name="T9" fmla="*/ 13 h 97"/>
                <a:gd name="T10" fmla="*/ 0 w 12"/>
                <a:gd name="T11" fmla="*/ 3 h 97"/>
                <a:gd name="T12" fmla="*/ 1 w 12"/>
                <a:gd name="T13" fmla="*/ 1 h 97"/>
                <a:gd name="T14" fmla="*/ 3 w 12"/>
                <a:gd name="T15" fmla="*/ 0 h 97"/>
                <a:gd name="T16" fmla="*/ 9 w 12"/>
                <a:gd name="T17" fmla="*/ 0 h 97"/>
                <a:gd name="T18" fmla="*/ 11 w 12"/>
                <a:gd name="T19" fmla="*/ 1 h 97"/>
                <a:gd name="T20" fmla="*/ 12 w 12"/>
                <a:gd name="T21" fmla="*/ 3 h 97"/>
                <a:gd name="T22" fmla="*/ 12 w 12"/>
                <a:gd name="T23" fmla="*/ 13 h 97"/>
                <a:gd name="T24" fmla="*/ 11 w 12"/>
                <a:gd name="T25" fmla="*/ 15 h 97"/>
                <a:gd name="T26" fmla="*/ 11 w 12"/>
                <a:gd name="T27" fmla="*/ 96 h 97"/>
                <a:gd name="T28" fmla="*/ 9 w 12"/>
                <a:gd name="T29" fmla="*/ 97 h 97"/>
                <a:gd name="T30" fmla="*/ 3 w 12"/>
                <a:gd name="T31" fmla="*/ 97 h 97"/>
                <a:gd name="T32" fmla="*/ 1 w 12"/>
                <a:gd name="T33" fmla="*/ 96 h 97"/>
                <a:gd name="T34" fmla="*/ 0 w 12"/>
                <a:gd name="T35" fmla="*/ 94 h 97"/>
                <a:gd name="T36" fmla="*/ 0 w 12"/>
                <a:gd name="T37" fmla="*/ 29 h 97"/>
                <a:gd name="T38" fmla="*/ 1 w 12"/>
                <a:gd name="T39" fmla="*/ 27 h 97"/>
                <a:gd name="T40" fmla="*/ 3 w 12"/>
                <a:gd name="T41" fmla="*/ 27 h 97"/>
                <a:gd name="T42" fmla="*/ 9 w 12"/>
                <a:gd name="T43" fmla="*/ 27 h 97"/>
                <a:gd name="T44" fmla="*/ 11 w 12"/>
                <a:gd name="T45" fmla="*/ 27 h 97"/>
                <a:gd name="T46" fmla="*/ 12 w 12"/>
                <a:gd name="T47" fmla="*/ 29 h 97"/>
                <a:gd name="T48" fmla="*/ 12 w 12"/>
                <a:gd name="T49" fmla="*/ 94 h 97"/>
                <a:gd name="T50" fmla="*/ 11 w 12"/>
                <a:gd name="T51" fmla="*/ 96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2" h="97">
                  <a:moveTo>
                    <a:pt x="11" y="15"/>
                  </a:moveTo>
                  <a:cubicBezTo>
                    <a:pt x="11" y="15"/>
                    <a:pt x="10" y="15"/>
                    <a:pt x="9" y="15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2" y="15"/>
                    <a:pt x="1" y="15"/>
                    <a:pt x="1" y="15"/>
                  </a:cubicBezTo>
                  <a:cubicBezTo>
                    <a:pt x="0" y="14"/>
                    <a:pt x="0" y="14"/>
                    <a:pt x="0" y="1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0" y="1"/>
                    <a:pt x="1" y="1"/>
                  </a:cubicBezTo>
                  <a:cubicBezTo>
                    <a:pt x="1" y="0"/>
                    <a:pt x="2" y="0"/>
                    <a:pt x="3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0" y="0"/>
                    <a:pt x="11" y="0"/>
                    <a:pt x="11" y="1"/>
                  </a:cubicBezTo>
                  <a:cubicBezTo>
                    <a:pt x="12" y="1"/>
                    <a:pt x="12" y="2"/>
                    <a:pt x="12" y="3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2" y="14"/>
                    <a:pt x="12" y="14"/>
                    <a:pt x="11" y="15"/>
                  </a:cubicBezTo>
                  <a:close/>
                  <a:moveTo>
                    <a:pt x="11" y="96"/>
                  </a:moveTo>
                  <a:cubicBezTo>
                    <a:pt x="10" y="96"/>
                    <a:pt x="10" y="97"/>
                    <a:pt x="9" y="97"/>
                  </a:cubicBezTo>
                  <a:cubicBezTo>
                    <a:pt x="3" y="97"/>
                    <a:pt x="3" y="97"/>
                    <a:pt x="3" y="97"/>
                  </a:cubicBezTo>
                  <a:cubicBezTo>
                    <a:pt x="2" y="97"/>
                    <a:pt x="1" y="96"/>
                    <a:pt x="1" y="96"/>
                  </a:cubicBezTo>
                  <a:cubicBezTo>
                    <a:pt x="0" y="95"/>
                    <a:pt x="0" y="95"/>
                    <a:pt x="0" y="94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28"/>
                    <a:pt x="0" y="28"/>
                    <a:pt x="1" y="27"/>
                  </a:cubicBezTo>
                  <a:cubicBezTo>
                    <a:pt x="1" y="27"/>
                    <a:pt x="2" y="27"/>
                    <a:pt x="3" y="27"/>
                  </a:cubicBezTo>
                  <a:cubicBezTo>
                    <a:pt x="9" y="27"/>
                    <a:pt x="9" y="27"/>
                    <a:pt x="9" y="27"/>
                  </a:cubicBezTo>
                  <a:cubicBezTo>
                    <a:pt x="10" y="27"/>
                    <a:pt x="10" y="27"/>
                    <a:pt x="11" y="27"/>
                  </a:cubicBezTo>
                  <a:cubicBezTo>
                    <a:pt x="11" y="28"/>
                    <a:pt x="12" y="28"/>
                    <a:pt x="12" y="29"/>
                  </a:cubicBezTo>
                  <a:cubicBezTo>
                    <a:pt x="12" y="94"/>
                    <a:pt x="12" y="94"/>
                    <a:pt x="12" y="94"/>
                  </a:cubicBezTo>
                  <a:cubicBezTo>
                    <a:pt x="12" y="95"/>
                    <a:pt x="11" y="95"/>
                    <a:pt x="11" y="9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0" name="Freeform 258">
              <a:extLst>
                <a:ext uri="{FF2B5EF4-FFF2-40B4-BE49-F238E27FC236}">
                  <a16:creationId xmlns:a16="http://schemas.microsoft.com/office/drawing/2014/main" id="{647CC5EE-ED70-4B94-9CC8-79E89A43556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30763" y="-2374900"/>
              <a:ext cx="171450" cy="295275"/>
            </a:xfrm>
            <a:custGeom>
              <a:avLst/>
              <a:gdLst>
                <a:gd name="T0" fmla="*/ 56 w 57"/>
                <a:gd name="T1" fmla="*/ 93 h 97"/>
                <a:gd name="T2" fmla="*/ 54 w 57"/>
                <a:gd name="T3" fmla="*/ 94 h 97"/>
                <a:gd name="T4" fmla="*/ 41 w 57"/>
                <a:gd name="T5" fmla="*/ 96 h 97"/>
                <a:gd name="T6" fmla="*/ 29 w 57"/>
                <a:gd name="T7" fmla="*/ 97 h 97"/>
                <a:gd name="T8" fmla="*/ 16 w 57"/>
                <a:gd name="T9" fmla="*/ 94 h 97"/>
                <a:gd name="T10" fmla="*/ 7 w 57"/>
                <a:gd name="T11" fmla="*/ 88 h 97"/>
                <a:gd name="T12" fmla="*/ 2 w 57"/>
                <a:gd name="T13" fmla="*/ 78 h 97"/>
                <a:gd name="T14" fmla="*/ 0 w 57"/>
                <a:gd name="T15" fmla="*/ 65 h 97"/>
                <a:gd name="T16" fmla="*/ 0 w 57"/>
                <a:gd name="T17" fmla="*/ 56 h 97"/>
                <a:gd name="T18" fmla="*/ 7 w 57"/>
                <a:gd name="T19" fmla="*/ 33 h 97"/>
                <a:gd name="T20" fmla="*/ 29 w 57"/>
                <a:gd name="T21" fmla="*/ 25 h 97"/>
                <a:gd name="T22" fmla="*/ 37 w 57"/>
                <a:gd name="T23" fmla="*/ 25 h 97"/>
                <a:gd name="T24" fmla="*/ 45 w 57"/>
                <a:gd name="T25" fmla="*/ 26 h 97"/>
                <a:gd name="T26" fmla="*/ 45 w 57"/>
                <a:gd name="T27" fmla="*/ 2 h 97"/>
                <a:gd name="T28" fmla="*/ 46 w 57"/>
                <a:gd name="T29" fmla="*/ 1 h 97"/>
                <a:gd name="T30" fmla="*/ 47 w 57"/>
                <a:gd name="T31" fmla="*/ 0 h 97"/>
                <a:gd name="T32" fmla="*/ 54 w 57"/>
                <a:gd name="T33" fmla="*/ 0 h 97"/>
                <a:gd name="T34" fmla="*/ 56 w 57"/>
                <a:gd name="T35" fmla="*/ 1 h 97"/>
                <a:gd name="T36" fmla="*/ 57 w 57"/>
                <a:gd name="T37" fmla="*/ 2 h 97"/>
                <a:gd name="T38" fmla="*/ 57 w 57"/>
                <a:gd name="T39" fmla="*/ 91 h 97"/>
                <a:gd name="T40" fmla="*/ 56 w 57"/>
                <a:gd name="T41" fmla="*/ 93 h 97"/>
                <a:gd name="T42" fmla="*/ 45 w 57"/>
                <a:gd name="T43" fmla="*/ 35 h 97"/>
                <a:gd name="T44" fmla="*/ 37 w 57"/>
                <a:gd name="T45" fmla="*/ 35 h 97"/>
                <a:gd name="T46" fmla="*/ 29 w 57"/>
                <a:gd name="T47" fmla="*/ 35 h 97"/>
                <a:gd name="T48" fmla="*/ 16 w 57"/>
                <a:gd name="T49" fmla="*/ 40 h 97"/>
                <a:gd name="T50" fmla="*/ 12 w 57"/>
                <a:gd name="T51" fmla="*/ 56 h 97"/>
                <a:gd name="T52" fmla="*/ 12 w 57"/>
                <a:gd name="T53" fmla="*/ 65 h 97"/>
                <a:gd name="T54" fmla="*/ 16 w 57"/>
                <a:gd name="T55" fmla="*/ 81 h 97"/>
                <a:gd name="T56" fmla="*/ 29 w 57"/>
                <a:gd name="T57" fmla="*/ 87 h 97"/>
                <a:gd name="T58" fmla="*/ 37 w 57"/>
                <a:gd name="T59" fmla="*/ 86 h 97"/>
                <a:gd name="T60" fmla="*/ 45 w 57"/>
                <a:gd name="T61" fmla="*/ 86 h 97"/>
                <a:gd name="T62" fmla="*/ 45 w 57"/>
                <a:gd name="T63" fmla="*/ 35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57" h="97">
                  <a:moveTo>
                    <a:pt x="56" y="93"/>
                  </a:moveTo>
                  <a:cubicBezTo>
                    <a:pt x="56" y="94"/>
                    <a:pt x="55" y="94"/>
                    <a:pt x="54" y="94"/>
                  </a:cubicBezTo>
                  <a:cubicBezTo>
                    <a:pt x="50" y="95"/>
                    <a:pt x="46" y="96"/>
                    <a:pt x="41" y="96"/>
                  </a:cubicBezTo>
                  <a:cubicBezTo>
                    <a:pt x="37" y="96"/>
                    <a:pt x="33" y="97"/>
                    <a:pt x="29" y="97"/>
                  </a:cubicBezTo>
                  <a:cubicBezTo>
                    <a:pt x="24" y="97"/>
                    <a:pt x="20" y="96"/>
                    <a:pt x="16" y="94"/>
                  </a:cubicBezTo>
                  <a:cubicBezTo>
                    <a:pt x="13" y="93"/>
                    <a:pt x="10" y="91"/>
                    <a:pt x="7" y="88"/>
                  </a:cubicBezTo>
                  <a:cubicBezTo>
                    <a:pt x="5" y="85"/>
                    <a:pt x="3" y="82"/>
                    <a:pt x="2" y="78"/>
                  </a:cubicBezTo>
                  <a:cubicBezTo>
                    <a:pt x="1" y="74"/>
                    <a:pt x="0" y="70"/>
                    <a:pt x="0" y="65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46"/>
                    <a:pt x="3" y="38"/>
                    <a:pt x="7" y="33"/>
                  </a:cubicBezTo>
                  <a:cubicBezTo>
                    <a:pt x="12" y="27"/>
                    <a:pt x="19" y="25"/>
                    <a:pt x="29" y="25"/>
                  </a:cubicBezTo>
                  <a:cubicBezTo>
                    <a:pt x="31" y="25"/>
                    <a:pt x="34" y="25"/>
                    <a:pt x="37" y="25"/>
                  </a:cubicBezTo>
                  <a:cubicBezTo>
                    <a:pt x="40" y="25"/>
                    <a:pt x="42" y="26"/>
                    <a:pt x="45" y="26"/>
                  </a:cubicBezTo>
                  <a:cubicBezTo>
                    <a:pt x="45" y="2"/>
                    <a:pt x="45" y="2"/>
                    <a:pt x="45" y="2"/>
                  </a:cubicBezTo>
                  <a:cubicBezTo>
                    <a:pt x="45" y="2"/>
                    <a:pt x="45" y="1"/>
                    <a:pt x="46" y="1"/>
                  </a:cubicBezTo>
                  <a:cubicBezTo>
                    <a:pt x="46" y="0"/>
                    <a:pt x="47" y="0"/>
                    <a:pt x="47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5" y="0"/>
                    <a:pt x="56" y="0"/>
                    <a:pt x="56" y="1"/>
                  </a:cubicBezTo>
                  <a:cubicBezTo>
                    <a:pt x="56" y="1"/>
                    <a:pt x="57" y="2"/>
                    <a:pt x="57" y="2"/>
                  </a:cubicBezTo>
                  <a:cubicBezTo>
                    <a:pt x="57" y="91"/>
                    <a:pt x="57" y="91"/>
                    <a:pt x="57" y="91"/>
                  </a:cubicBezTo>
                  <a:cubicBezTo>
                    <a:pt x="57" y="92"/>
                    <a:pt x="57" y="93"/>
                    <a:pt x="56" y="93"/>
                  </a:cubicBezTo>
                  <a:close/>
                  <a:moveTo>
                    <a:pt x="45" y="35"/>
                  </a:moveTo>
                  <a:cubicBezTo>
                    <a:pt x="43" y="35"/>
                    <a:pt x="40" y="35"/>
                    <a:pt x="37" y="35"/>
                  </a:cubicBezTo>
                  <a:cubicBezTo>
                    <a:pt x="34" y="35"/>
                    <a:pt x="31" y="35"/>
                    <a:pt x="29" y="35"/>
                  </a:cubicBezTo>
                  <a:cubicBezTo>
                    <a:pt x="23" y="35"/>
                    <a:pt x="18" y="36"/>
                    <a:pt x="16" y="40"/>
                  </a:cubicBezTo>
                  <a:cubicBezTo>
                    <a:pt x="13" y="44"/>
                    <a:pt x="12" y="49"/>
                    <a:pt x="12" y="56"/>
                  </a:cubicBezTo>
                  <a:cubicBezTo>
                    <a:pt x="12" y="65"/>
                    <a:pt x="12" y="65"/>
                    <a:pt x="12" y="65"/>
                  </a:cubicBezTo>
                  <a:cubicBezTo>
                    <a:pt x="12" y="72"/>
                    <a:pt x="13" y="77"/>
                    <a:pt x="16" y="81"/>
                  </a:cubicBezTo>
                  <a:cubicBezTo>
                    <a:pt x="18" y="85"/>
                    <a:pt x="23" y="87"/>
                    <a:pt x="29" y="87"/>
                  </a:cubicBezTo>
                  <a:cubicBezTo>
                    <a:pt x="32" y="87"/>
                    <a:pt x="34" y="87"/>
                    <a:pt x="37" y="86"/>
                  </a:cubicBezTo>
                  <a:cubicBezTo>
                    <a:pt x="40" y="86"/>
                    <a:pt x="43" y="86"/>
                    <a:pt x="45" y="86"/>
                  </a:cubicBezTo>
                  <a:lnTo>
                    <a:pt x="45" y="3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1" name="Freeform 259">
              <a:extLst>
                <a:ext uri="{FF2B5EF4-FFF2-40B4-BE49-F238E27FC236}">
                  <a16:creationId xmlns:a16="http://schemas.microsoft.com/office/drawing/2014/main" id="{5DCFFD9E-33C1-45DE-88EB-C3794A3154A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46663" y="-2298700"/>
              <a:ext cx="180975" cy="219075"/>
            </a:xfrm>
            <a:custGeom>
              <a:avLst/>
              <a:gdLst>
                <a:gd name="T0" fmla="*/ 57 w 60"/>
                <a:gd name="T1" fmla="*/ 39 h 72"/>
                <a:gd name="T2" fmla="*/ 12 w 60"/>
                <a:gd name="T3" fmla="*/ 39 h 72"/>
                <a:gd name="T4" fmla="*/ 12 w 60"/>
                <a:gd name="T5" fmla="*/ 41 h 72"/>
                <a:gd name="T6" fmla="*/ 17 w 60"/>
                <a:gd name="T7" fmla="*/ 57 h 72"/>
                <a:gd name="T8" fmla="*/ 31 w 60"/>
                <a:gd name="T9" fmla="*/ 62 h 72"/>
                <a:gd name="T10" fmla="*/ 43 w 60"/>
                <a:gd name="T11" fmla="*/ 61 h 72"/>
                <a:gd name="T12" fmla="*/ 55 w 60"/>
                <a:gd name="T13" fmla="*/ 60 h 72"/>
                <a:gd name="T14" fmla="*/ 55 w 60"/>
                <a:gd name="T15" fmla="*/ 60 h 72"/>
                <a:gd name="T16" fmla="*/ 57 w 60"/>
                <a:gd name="T17" fmla="*/ 61 h 72"/>
                <a:gd name="T18" fmla="*/ 57 w 60"/>
                <a:gd name="T19" fmla="*/ 62 h 72"/>
                <a:gd name="T20" fmla="*/ 57 w 60"/>
                <a:gd name="T21" fmla="*/ 66 h 72"/>
                <a:gd name="T22" fmla="*/ 57 w 60"/>
                <a:gd name="T23" fmla="*/ 68 h 72"/>
                <a:gd name="T24" fmla="*/ 55 w 60"/>
                <a:gd name="T25" fmla="*/ 69 h 72"/>
                <a:gd name="T26" fmla="*/ 43 w 60"/>
                <a:gd name="T27" fmla="*/ 71 h 72"/>
                <a:gd name="T28" fmla="*/ 31 w 60"/>
                <a:gd name="T29" fmla="*/ 72 h 72"/>
                <a:gd name="T30" fmla="*/ 20 w 60"/>
                <a:gd name="T31" fmla="*/ 70 h 72"/>
                <a:gd name="T32" fmla="*/ 10 w 60"/>
                <a:gd name="T33" fmla="*/ 65 h 72"/>
                <a:gd name="T34" fmla="*/ 3 w 60"/>
                <a:gd name="T35" fmla="*/ 56 h 72"/>
                <a:gd name="T36" fmla="*/ 0 w 60"/>
                <a:gd name="T37" fmla="*/ 41 h 72"/>
                <a:gd name="T38" fmla="*/ 0 w 60"/>
                <a:gd name="T39" fmla="*/ 29 h 72"/>
                <a:gd name="T40" fmla="*/ 8 w 60"/>
                <a:gd name="T41" fmla="*/ 8 h 72"/>
                <a:gd name="T42" fmla="*/ 30 w 60"/>
                <a:gd name="T43" fmla="*/ 0 h 72"/>
                <a:gd name="T44" fmla="*/ 43 w 60"/>
                <a:gd name="T45" fmla="*/ 2 h 72"/>
                <a:gd name="T46" fmla="*/ 52 w 60"/>
                <a:gd name="T47" fmla="*/ 8 h 72"/>
                <a:gd name="T48" fmla="*/ 58 w 60"/>
                <a:gd name="T49" fmla="*/ 17 h 72"/>
                <a:gd name="T50" fmla="*/ 60 w 60"/>
                <a:gd name="T51" fmla="*/ 29 h 72"/>
                <a:gd name="T52" fmla="*/ 60 w 60"/>
                <a:gd name="T53" fmla="*/ 36 h 72"/>
                <a:gd name="T54" fmla="*/ 57 w 60"/>
                <a:gd name="T55" fmla="*/ 39 h 72"/>
                <a:gd name="T56" fmla="*/ 48 w 60"/>
                <a:gd name="T57" fmla="*/ 29 h 72"/>
                <a:gd name="T58" fmla="*/ 43 w 60"/>
                <a:gd name="T59" fmla="*/ 14 h 72"/>
                <a:gd name="T60" fmla="*/ 30 w 60"/>
                <a:gd name="T61" fmla="*/ 10 h 72"/>
                <a:gd name="T62" fmla="*/ 17 w 60"/>
                <a:gd name="T63" fmla="*/ 14 h 72"/>
                <a:gd name="T64" fmla="*/ 12 w 60"/>
                <a:gd name="T65" fmla="*/ 29 h 72"/>
                <a:gd name="T66" fmla="*/ 12 w 60"/>
                <a:gd name="T67" fmla="*/ 31 h 72"/>
                <a:gd name="T68" fmla="*/ 48 w 60"/>
                <a:gd name="T69" fmla="*/ 31 h 72"/>
                <a:gd name="T70" fmla="*/ 48 w 60"/>
                <a:gd name="T71" fmla="*/ 29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60" h="72">
                  <a:moveTo>
                    <a:pt x="57" y="39"/>
                  </a:moveTo>
                  <a:cubicBezTo>
                    <a:pt x="12" y="39"/>
                    <a:pt x="12" y="39"/>
                    <a:pt x="12" y="39"/>
                  </a:cubicBezTo>
                  <a:cubicBezTo>
                    <a:pt x="12" y="41"/>
                    <a:pt x="12" y="41"/>
                    <a:pt x="12" y="41"/>
                  </a:cubicBezTo>
                  <a:cubicBezTo>
                    <a:pt x="12" y="49"/>
                    <a:pt x="14" y="54"/>
                    <a:pt x="17" y="57"/>
                  </a:cubicBezTo>
                  <a:cubicBezTo>
                    <a:pt x="20" y="60"/>
                    <a:pt x="25" y="62"/>
                    <a:pt x="31" y="62"/>
                  </a:cubicBezTo>
                  <a:cubicBezTo>
                    <a:pt x="35" y="62"/>
                    <a:pt x="39" y="62"/>
                    <a:pt x="43" y="61"/>
                  </a:cubicBezTo>
                  <a:cubicBezTo>
                    <a:pt x="48" y="61"/>
                    <a:pt x="51" y="61"/>
                    <a:pt x="55" y="60"/>
                  </a:cubicBezTo>
                  <a:cubicBezTo>
                    <a:pt x="55" y="60"/>
                    <a:pt x="55" y="60"/>
                    <a:pt x="55" y="60"/>
                  </a:cubicBezTo>
                  <a:cubicBezTo>
                    <a:pt x="56" y="60"/>
                    <a:pt x="56" y="60"/>
                    <a:pt x="57" y="61"/>
                  </a:cubicBezTo>
                  <a:cubicBezTo>
                    <a:pt x="57" y="61"/>
                    <a:pt x="57" y="61"/>
                    <a:pt x="57" y="62"/>
                  </a:cubicBezTo>
                  <a:cubicBezTo>
                    <a:pt x="57" y="66"/>
                    <a:pt x="57" y="66"/>
                    <a:pt x="57" y="66"/>
                  </a:cubicBezTo>
                  <a:cubicBezTo>
                    <a:pt x="57" y="67"/>
                    <a:pt x="57" y="68"/>
                    <a:pt x="57" y="68"/>
                  </a:cubicBezTo>
                  <a:cubicBezTo>
                    <a:pt x="56" y="69"/>
                    <a:pt x="56" y="69"/>
                    <a:pt x="55" y="69"/>
                  </a:cubicBezTo>
                  <a:cubicBezTo>
                    <a:pt x="51" y="70"/>
                    <a:pt x="47" y="71"/>
                    <a:pt x="43" y="71"/>
                  </a:cubicBezTo>
                  <a:cubicBezTo>
                    <a:pt x="39" y="71"/>
                    <a:pt x="35" y="72"/>
                    <a:pt x="31" y="72"/>
                  </a:cubicBezTo>
                  <a:cubicBezTo>
                    <a:pt x="27" y="72"/>
                    <a:pt x="23" y="71"/>
                    <a:pt x="20" y="70"/>
                  </a:cubicBezTo>
                  <a:cubicBezTo>
                    <a:pt x="16" y="69"/>
                    <a:pt x="13" y="67"/>
                    <a:pt x="10" y="65"/>
                  </a:cubicBezTo>
                  <a:cubicBezTo>
                    <a:pt x="7" y="63"/>
                    <a:pt x="5" y="60"/>
                    <a:pt x="3" y="56"/>
                  </a:cubicBezTo>
                  <a:cubicBezTo>
                    <a:pt x="1" y="52"/>
                    <a:pt x="0" y="47"/>
                    <a:pt x="0" y="41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20"/>
                    <a:pt x="3" y="13"/>
                    <a:pt x="8" y="8"/>
                  </a:cubicBezTo>
                  <a:cubicBezTo>
                    <a:pt x="13" y="2"/>
                    <a:pt x="20" y="0"/>
                    <a:pt x="30" y="0"/>
                  </a:cubicBezTo>
                  <a:cubicBezTo>
                    <a:pt x="35" y="0"/>
                    <a:pt x="39" y="0"/>
                    <a:pt x="43" y="2"/>
                  </a:cubicBezTo>
                  <a:cubicBezTo>
                    <a:pt x="47" y="3"/>
                    <a:pt x="50" y="5"/>
                    <a:pt x="52" y="8"/>
                  </a:cubicBezTo>
                  <a:cubicBezTo>
                    <a:pt x="55" y="10"/>
                    <a:pt x="56" y="14"/>
                    <a:pt x="58" y="17"/>
                  </a:cubicBezTo>
                  <a:cubicBezTo>
                    <a:pt x="59" y="21"/>
                    <a:pt x="60" y="25"/>
                    <a:pt x="60" y="29"/>
                  </a:cubicBezTo>
                  <a:cubicBezTo>
                    <a:pt x="60" y="36"/>
                    <a:pt x="60" y="36"/>
                    <a:pt x="60" y="36"/>
                  </a:cubicBezTo>
                  <a:cubicBezTo>
                    <a:pt x="60" y="38"/>
                    <a:pt x="59" y="39"/>
                    <a:pt x="57" y="39"/>
                  </a:cubicBezTo>
                  <a:close/>
                  <a:moveTo>
                    <a:pt x="48" y="29"/>
                  </a:moveTo>
                  <a:cubicBezTo>
                    <a:pt x="48" y="22"/>
                    <a:pt x="46" y="17"/>
                    <a:pt x="43" y="14"/>
                  </a:cubicBezTo>
                  <a:cubicBezTo>
                    <a:pt x="40" y="11"/>
                    <a:pt x="36" y="10"/>
                    <a:pt x="30" y="10"/>
                  </a:cubicBezTo>
                  <a:cubicBezTo>
                    <a:pt x="24" y="10"/>
                    <a:pt x="20" y="11"/>
                    <a:pt x="17" y="14"/>
                  </a:cubicBezTo>
                  <a:cubicBezTo>
                    <a:pt x="14" y="18"/>
                    <a:pt x="12" y="23"/>
                    <a:pt x="12" y="29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48" y="31"/>
                    <a:pt x="48" y="31"/>
                    <a:pt x="48" y="31"/>
                  </a:cubicBezTo>
                  <a:lnTo>
                    <a:pt x="48" y="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2" name="Freeform 260">
              <a:extLst>
                <a:ext uri="{FF2B5EF4-FFF2-40B4-BE49-F238E27FC236}">
                  <a16:creationId xmlns:a16="http://schemas.microsoft.com/office/drawing/2014/main" id="{8D7DE8EB-EA55-4012-A945-DAAAF31F6512}"/>
                </a:ext>
              </a:extLst>
            </p:cNvPr>
            <p:cNvSpPr>
              <a:spLocks/>
            </p:cNvSpPr>
            <p:nvPr/>
          </p:nvSpPr>
          <p:spPr bwMode="auto">
            <a:xfrm>
              <a:off x="5265738" y="-2298700"/>
              <a:ext cx="147637" cy="219075"/>
            </a:xfrm>
            <a:custGeom>
              <a:avLst/>
              <a:gdLst>
                <a:gd name="T0" fmla="*/ 49 w 49"/>
                <a:gd name="T1" fmla="*/ 53 h 72"/>
                <a:gd name="T2" fmla="*/ 42 w 49"/>
                <a:gd name="T3" fmla="*/ 67 h 72"/>
                <a:gd name="T4" fmla="*/ 24 w 49"/>
                <a:gd name="T5" fmla="*/ 72 h 72"/>
                <a:gd name="T6" fmla="*/ 20 w 49"/>
                <a:gd name="T7" fmla="*/ 71 h 72"/>
                <a:gd name="T8" fmla="*/ 14 w 49"/>
                <a:gd name="T9" fmla="*/ 71 h 72"/>
                <a:gd name="T10" fmla="*/ 8 w 49"/>
                <a:gd name="T11" fmla="*/ 70 h 72"/>
                <a:gd name="T12" fmla="*/ 3 w 49"/>
                <a:gd name="T13" fmla="*/ 70 h 72"/>
                <a:gd name="T14" fmla="*/ 0 w 49"/>
                <a:gd name="T15" fmla="*/ 67 h 72"/>
                <a:gd name="T16" fmla="*/ 0 w 49"/>
                <a:gd name="T17" fmla="*/ 63 h 72"/>
                <a:gd name="T18" fmla="*/ 1 w 49"/>
                <a:gd name="T19" fmla="*/ 61 h 72"/>
                <a:gd name="T20" fmla="*/ 3 w 49"/>
                <a:gd name="T21" fmla="*/ 61 h 72"/>
                <a:gd name="T22" fmla="*/ 3 w 49"/>
                <a:gd name="T23" fmla="*/ 61 h 72"/>
                <a:gd name="T24" fmla="*/ 8 w 49"/>
                <a:gd name="T25" fmla="*/ 61 h 72"/>
                <a:gd name="T26" fmla="*/ 14 w 49"/>
                <a:gd name="T27" fmla="*/ 62 h 72"/>
                <a:gd name="T28" fmla="*/ 20 w 49"/>
                <a:gd name="T29" fmla="*/ 62 h 72"/>
                <a:gd name="T30" fmla="*/ 24 w 49"/>
                <a:gd name="T31" fmla="*/ 62 h 72"/>
                <a:gd name="T32" fmla="*/ 34 w 49"/>
                <a:gd name="T33" fmla="*/ 60 h 72"/>
                <a:gd name="T34" fmla="*/ 37 w 49"/>
                <a:gd name="T35" fmla="*/ 53 h 72"/>
                <a:gd name="T36" fmla="*/ 35 w 49"/>
                <a:gd name="T37" fmla="*/ 48 h 72"/>
                <a:gd name="T38" fmla="*/ 27 w 49"/>
                <a:gd name="T39" fmla="*/ 42 h 72"/>
                <a:gd name="T40" fmla="*/ 14 w 49"/>
                <a:gd name="T41" fmla="*/ 35 h 72"/>
                <a:gd name="T42" fmla="*/ 4 w 49"/>
                <a:gd name="T43" fmla="*/ 27 h 72"/>
                <a:gd name="T44" fmla="*/ 0 w 49"/>
                <a:gd name="T45" fmla="*/ 17 h 72"/>
                <a:gd name="T46" fmla="*/ 2 w 49"/>
                <a:gd name="T47" fmla="*/ 8 h 72"/>
                <a:gd name="T48" fmla="*/ 7 w 49"/>
                <a:gd name="T49" fmla="*/ 3 h 72"/>
                <a:gd name="T50" fmla="*/ 15 w 49"/>
                <a:gd name="T51" fmla="*/ 0 h 72"/>
                <a:gd name="T52" fmla="*/ 24 w 49"/>
                <a:gd name="T53" fmla="*/ 0 h 72"/>
                <a:gd name="T54" fmla="*/ 35 w 49"/>
                <a:gd name="T55" fmla="*/ 0 h 72"/>
                <a:gd name="T56" fmla="*/ 45 w 49"/>
                <a:gd name="T57" fmla="*/ 1 h 72"/>
                <a:gd name="T58" fmla="*/ 48 w 49"/>
                <a:gd name="T59" fmla="*/ 4 h 72"/>
                <a:gd name="T60" fmla="*/ 48 w 49"/>
                <a:gd name="T61" fmla="*/ 8 h 72"/>
                <a:gd name="T62" fmla="*/ 45 w 49"/>
                <a:gd name="T63" fmla="*/ 10 h 72"/>
                <a:gd name="T64" fmla="*/ 45 w 49"/>
                <a:gd name="T65" fmla="*/ 10 h 72"/>
                <a:gd name="T66" fmla="*/ 36 w 49"/>
                <a:gd name="T67" fmla="*/ 10 h 72"/>
                <a:gd name="T68" fmla="*/ 24 w 49"/>
                <a:gd name="T69" fmla="*/ 9 h 72"/>
                <a:gd name="T70" fmla="*/ 15 w 49"/>
                <a:gd name="T71" fmla="*/ 11 h 72"/>
                <a:gd name="T72" fmla="*/ 12 w 49"/>
                <a:gd name="T73" fmla="*/ 17 h 72"/>
                <a:gd name="T74" fmla="*/ 14 w 49"/>
                <a:gd name="T75" fmla="*/ 22 h 72"/>
                <a:gd name="T76" fmla="*/ 21 w 49"/>
                <a:gd name="T77" fmla="*/ 26 h 72"/>
                <a:gd name="T78" fmla="*/ 34 w 49"/>
                <a:gd name="T79" fmla="*/ 34 h 72"/>
                <a:gd name="T80" fmla="*/ 46 w 49"/>
                <a:gd name="T81" fmla="*/ 43 h 72"/>
                <a:gd name="T82" fmla="*/ 49 w 49"/>
                <a:gd name="T83" fmla="*/ 53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9" h="72">
                  <a:moveTo>
                    <a:pt x="49" y="53"/>
                  </a:moveTo>
                  <a:cubicBezTo>
                    <a:pt x="49" y="59"/>
                    <a:pt x="47" y="64"/>
                    <a:pt x="42" y="67"/>
                  </a:cubicBezTo>
                  <a:cubicBezTo>
                    <a:pt x="38" y="70"/>
                    <a:pt x="32" y="72"/>
                    <a:pt x="24" y="72"/>
                  </a:cubicBezTo>
                  <a:cubicBezTo>
                    <a:pt x="23" y="72"/>
                    <a:pt x="21" y="71"/>
                    <a:pt x="20" y="71"/>
                  </a:cubicBezTo>
                  <a:cubicBezTo>
                    <a:pt x="18" y="71"/>
                    <a:pt x="16" y="71"/>
                    <a:pt x="14" y="71"/>
                  </a:cubicBezTo>
                  <a:cubicBezTo>
                    <a:pt x="12" y="71"/>
                    <a:pt x="10" y="71"/>
                    <a:pt x="8" y="70"/>
                  </a:cubicBezTo>
                  <a:cubicBezTo>
                    <a:pt x="6" y="70"/>
                    <a:pt x="5" y="70"/>
                    <a:pt x="3" y="70"/>
                  </a:cubicBezTo>
                  <a:cubicBezTo>
                    <a:pt x="1" y="69"/>
                    <a:pt x="0" y="68"/>
                    <a:pt x="0" y="67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0" y="62"/>
                    <a:pt x="0" y="62"/>
                    <a:pt x="1" y="61"/>
                  </a:cubicBezTo>
                  <a:cubicBezTo>
                    <a:pt x="1" y="61"/>
                    <a:pt x="2" y="61"/>
                    <a:pt x="3" y="61"/>
                  </a:cubicBezTo>
                  <a:cubicBezTo>
                    <a:pt x="3" y="61"/>
                    <a:pt x="3" y="61"/>
                    <a:pt x="3" y="61"/>
                  </a:cubicBezTo>
                  <a:cubicBezTo>
                    <a:pt x="5" y="61"/>
                    <a:pt x="6" y="61"/>
                    <a:pt x="8" y="61"/>
                  </a:cubicBezTo>
                  <a:cubicBezTo>
                    <a:pt x="10" y="61"/>
                    <a:pt x="12" y="62"/>
                    <a:pt x="14" y="62"/>
                  </a:cubicBezTo>
                  <a:cubicBezTo>
                    <a:pt x="16" y="62"/>
                    <a:pt x="18" y="62"/>
                    <a:pt x="20" y="62"/>
                  </a:cubicBezTo>
                  <a:cubicBezTo>
                    <a:pt x="21" y="62"/>
                    <a:pt x="23" y="62"/>
                    <a:pt x="24" y="62"/>
                  </a:cubicBezTo>
                  <a:cubicBezTo>
                    <a:pt x="28" y="62"/>
                    <a:pt x="32" y="61"/>
                    <a:pt x="34" y="60"/>
                  </a:cubicBezTo>
                  <a:cubicBezTo>
                    <a:pt x="36" y="59"/>
                    <a:pt x="37" y="57"/>
                    <a:pt x="37" y="53"/>
                  </a:cubicBezTo>
                  <a:cubicBezTo>
                    <a:pt x="37" y="51"/>
                    <a:pt x="37" y="49"/>
                    <a:pt x="35" y="48"/>
                  </a:cubicBezTo>
                  <a:cubicBezTo>
                    <a:pt x="34" y="47"/>
                    <a:pt x="31" y="45"/>
                    <a:pt x="27" y="42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0" y="32"/>
                    <a:pt x="6" y="30"/>
                    <a:pt x="4" y="27"/>
                  </a:cubicBezTo>
                  <a:cubicBezTo>
                    <a:pt x="1" y="24"/>
                    <a:pt x="0" y="21"/>
                    <a:pt x="0" y="17"/>
                  </a:cubicBezTo>
                  <a:cubicBezTo>
                    <a:pt x="0" y="13"/>
                    <a:pt x="1" y="11"/>
                    <a:pt x="2" y="8"/>
                  </a:cubicBezTo>
                  <a:cubicBezTo>
                    <a:pt x="3" y="6"/>
                    <a:pt x="5" y="5"/>
                    <a:pt x="7" y="3"/>
                  </a:cubicBezTo>
                  <a:cubicBezTo>
                    <a:pt x="9" y="2"/>
                    <a:pt x="12" y="1"/>
                    <a:pt x="15" y="0"/>
                  </a:cubicBezTo>
                  <a:cubicBezTo>
                    <a:pt x="18" y="0"/>
                    <a:pt x="21" y="0"/>
                    <a:pt x="24" y="0"/>
                  </a:cubicBezTo>
                  <a:cubicBezTo>
                    <a:pt x="28" y="0"/>
                    <a:pt x="32" y="0"/>
                    <a:pt x="35" y="0"/>
                  </a:cubicBezTo>
                  <a:cubicBezTo>
                    <a:pt x="39" y="0"/>
                    <a:pt x="42" y="1"/>
                    <a:pt x="45" y="1"/>
                  </a:cubicBezTo>
                  <a:cubicBezTo>
                    <a:pt x="47" y="2"/>
                    <a:pt x="48" y="2"/>
                    <a:pt x="48" y="4"/>
                  </a:cubicBezTo>
                  <a:cubicBezTo>
                    <a:pt x="48" y="8"/>
                    <a:pt x="48" y="8"/>
                    <a:pt x="48" y="8"/>
                  </a:cubicBezTo>
                  <a:cubicBezTo>
                    <a:pt x="48" y="10"/>
                    <a:pt x="47" y="10"/>
                    <a:pt x="45" y="10"/>
                  </a:cubicBezTo>
                  <a:cubicBezTo>
                    <a:pt x="45" y="10"/>
                    <a:pt x="45" y="10"/>
                    <a:pt x="45" y="10"/>
                  </a:cubicBezTo>
                  <a:cubicBezTo>
                    <a:pt x="43" y="10"/>
                    <a:pt x="40" y="10"/>
                    <a:pt x="36" y="10"/>
                  </a:cubicBezTo>
                  <a:cubicBezTo>
                    <a:pt x="32" y="9"/>
                    <a:pt x="28" y="9"/>
                    <a:pt x="24" y="9"/>
                  </a:cubicBezTo>
                  <a:cubicBezTo>
                    <a:pt x="21" y="9"/>
                    <a:pt x="18" y="10"/>
                    <a:pt x="15" y="11"/>
                  </a:cubicBezTo>
                  <a:cubicBezTo>
                    <a:pt x="13" y="11"/>
                    <a:pt x="12" y="13"/>
                    <a:pt x="12" y="17"/>
                  </a:cubicBezTo>
                  <a:cubicBezTo>
                    <a:pt x="12" y="19"/>
                    <a:pt x="13" y="20"/>
                    <a:pt x="14" y="22"/>
                  </a:cubicBezTo>
                  <a:cubicBezTo>
                    <a:pt x="16" y="23"/>
                    <a:pt x="18" y="25"/>
                    <a:pt x="21" y="26"/>
                  </a:cubicBezTo>
                  <a:cubicBezTo>
                    <a:pt x="34" y="34"/>
                    <a:pt x="34" y="34"/>
                    <a:pt x="34" y="34"/>
                  </a:cubicBezTo>
                  <a:cubicBezTo>
                    <a:pt x="40" y="37"/>
                    <a:pt x="44" y="40"/>
                    <a:pt x="46" y="43"/>
                  </a:cubicBezTo>
                  <a:cubicBezTo>
                    <a:pt x="48" y="46"/>
                    <a:pt x="49" y="49"/>
                    <a:pt x="49" y="5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3" name="Rectangle 261">
              <a:extLst>
                <a:ext uri="{FF2B5EF4-FFF2-40B4-BE49-F238E27FC236}">
                  <a16:creationId xmlns:a16="http://schemas.microsoft.com/office/drawing/2014/main" id="{807B0D91-E3FA-4C4E-BE44-BAF1A31F709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10075" y="-2116138"/>
              <a:ext cx="165100" cy="333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4" name="Freeform 262">
              <a:extLst>
                <a:ext uri="{FF2B5EF4-FFF2-40B4-BE49-F238E27FC236}">
                  <a16:creationId xmlns:a16="http://schemas.microsoft.com/office/drawing/2014/main" id="{17C8CF70-D7A5-489B-9E49-4849C38647B5}"/>
                </a:ext>
              </a:extLst>
            </p:cNvPr>
            <p:cNvSpPr>
              <a:spLocks/>
            </p:cNvSpPr>
            <p:nvPr/>
          </p:nvSpPr>
          <p:spPr bwMode="auto">
            <a:xfrm>
              <a:off x="4419600" y="-2374900"/>
              <a:ext cx="168275" cy="292100"/>
            </a:xfrm>
            <a:custGeom>
              <a:avLst/>
              <a:gdLst>
                <a:gd name="T0" fmla="*/ 7 w 56"/>
                <a:gd name="T1" fmla="*/ 5 h 96"/>
                <a:gd name="T2" fmla="*/ 30 w 56"/>
                <a:gd name="T3" fmla="*/ 0 h 96"/>
                <a:gd name="T4" fmla="*/ 41 w 56"/>
                <a:gd name="T5" fmla="*/ 0 h 96"/>
                <a:gd name="T6" fmla="*/ 52 w 56"/>
                <a:gd name="T7" fmla="*/ 2 h 96"/>
                <a:gd name="T8" fmla="*/ 54 w 56"/>
                <a:gd name="T9" fmla="*/ 3 h 96"/>
                <a:gd name="T10" fmla="*/ 54 w 56"/>
                <a:gd name="T11" fmla="*/ 5 h 96"/>
                <a:gd name="T12" fmla="*/ 54 w 56"/>
                <a:gd name="T13" fmla="*/ 9 h 96"/>
                <a:gd name="T14" fmla="*/ 52 w 56"/>
                <a:gd name="T15" fmla="*/ 12 h 96"/>
                <a:gd name="T16" fmla="*/ 52 w 56"/>
                <a:gd name="T17" fmla="*/ 12 h 96"/>
                <a:gd name="T18" fmla="*/ 41 w 56"/>
                <a:gd name="T19" fmla="*/ 10 h 96"/>
                <a:gd name="T20" fmla="*/ 30 w 56"/>
                <a:gd name="T21" fmla="*/ 10 h 96"/>
                <a:gd name="T22" fmla="*/ 15 w 56"/>
                <a:gd name="T23" fmla="*/ 13 h 96"/>
                <a:gd name="T24" fmla="*/ 11 w 56"/>
                <a:gd name="T25" fmla="*/ 23 h 96"/>
                <a:gd name="T26" fmla="*/ 11 w 56"/>
                <a:gd name="T27" fmla="*/ 28 h 96"/>
                <a:gd name="T28" fmla="*/ 13 w 56"/>
                <a:gd name="T29" fmla="*/ 32 h 96"/>
                <a:gd name="T30" fmla="*/ 17 w 56"/>
                <a:gd name="T31" fmla="*/ 36 h 96"/>
                <a:gd name="T32" fmla="*/ 24 w 56"/>
                <a:gd name="T33" fmla="*/ 41 h 96"/>
                <a:gd name="T34" fmla="*/ 36 w 56"/>
                <a:gd name="T35" fmla="*/ 49 h 96"/>
                <a:gd name="T36" fmla="*/ 51 w 56"/>
                <a:gd name="T37" fmla="*/ 65 h 96"/>
                <a:gd name="T38" fmla="*/ 56 w 56"/>
                <a:gd name="T39" fmla="*/ 83 h 96"/>
                <a:gd name="T40" fmla="*/ 56 w 56"/>
                <a:gd name="T41" fmla="*/ 93 h 96"/>
                <a:gd name="T42" fmla="*/ 55 w 56"/>
                <a:gd name="T43" fmla="*/ 95 h 96"/>
                <a:gd name="T44" fmla="*/ 53 w 56"/>
                <a:gd name="T45" fmla="*/ 96 h 96"/>
                <a:gd name="T46" fmla="*/ 3 w 56"/>
                <a:gd name="T47" fmla="*/ 96 h 96"/>
                <a:gd name="T48" fmla="*/ 2 w 56"/>
                <a:gd name="T49" fmla="*/ 95 h 96"/>
                <a:gd name="T50" fmla="*/ 1 w 56"/>
                <a:gd name="T51" fmla="*/ 93 h 96"/>
                <a:gd name="T52" fmla="*/ 1 w 56"/>
                <a:gd name="T53" fmla="*/ 88 h 96"/>
                <a:gd name="T54" fmla="*/ 2 w 56"/>
                <a:gd name="T55" fmla="*/ 86 h 96"/>
                <a:gd name="T56" fmla="*/ 3 w 56"/>
                <a:gd name="T57" fmla="*/ 85 h 96"/>
                <a:gd name="T58" fmla="*/ 46 w 56"/>
                <a:gd name="T59" fmla="*/ 85 h 96"/>
                <a:gd name="T60" fmla="*/ 46 w 56"/>
                <a:gd name="T61" fmla="*/ 83 h 96"/>
                <a:gd name="T62" fmla="*/ 45 w 56"/>
                <a:gd name="T63" fmla="*/ 75 h 96"/>
                <a:gd name="T64" fmla="*/ 42 w 56"/>
                <a:gd name="T65" fmla="*/ 69 h 96"/>
                <a:gd name="T66" fmla="*/ 37 w 56"/>
                <a:gd name="T67" fmla="*/ 62 h 96"/>
                <a:gd name="T68" fmla="*/ 28 w 56"/>
                <a:gd name="T69" fmla="*/ 56 h 96"/>
                <a:gd name="T70" fmla="*/ 16 w 56"/>
                <a:gd name="T71" fmla="*/ 47 h 96"/>
                <a:gd name="T72" fmla="*/ 3 w 56"/>
                <a:gd name="T73" fmla="*/ 36 h 96"/>
                <a:gd name="T74" fmla="*/ 0 w 56"/>
                <a:gd name="T75" fmla="*/ 23 h 96"/>
                <a:gd name="T76" fmla="*/ 7 w 56"/>
                <a:gd name="T77" fmla="*/ 5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56" h="96">
                  <a:moveTo>
                    <a:pt x="7" y="5"/>
                  </a:moveTo>
                  <a:cubicBezTo>
                    <a:pt x="12" y="2"/>
                    <a:pt x="19" y="0"/>
                    <a:pt x="30" y="0"/>
                  </a:cubicBezTo>
                  <a:cubicBezTo>
                    <a:pt x="33" y="0"/>
                    <a:pt x="37" y="0"/>
                    <a:pt x="41" y="0"/>
                  </a:cubicBezTo>
                  <a:cubicBezTo>
                    <a:pt x="45" y="1"/>
                    <a:pt x="49" y="1"/>
                    <a:pt x="52" y="2"/>
                  </a:cubicBezTo>
                  <a:cubicBezTo>
                    <a:pt x="53" y="3"/>
                    <a:pt x="53" y="3"/>
                    <a:pt x="54" y="3"/>
                  </a:cubicBezTo>
                  <a:cubicBezTo>
                    <a:pt x="54" y="3"/>
                    <a:pt x="54" y="4"/>
                    <a:pt x="54" y="5"/>
                  </a:cubicBezTo>
                  <a:cubicBezTo>
                    <a:pt x="54" y="9"/>
                    <a:pt x="54" y="9"/>
                    <a:pt x="54" y="9"/>
                  </a:cubicBezTo>
                  <a:cubicBezTo>
                    <a:pt x="54" y="11"/>
                    <a:pt x="54" y="12"/>
                    <a:pt x="52" y="12"/>
                  </a:cubicBezTo>
                  <a:cubicBezTo>
                    <a:pt x="52" y="12"/>
                    <a:pt x="52" y="12"/>
                    <a:pt x="52" y="12"/>
                  </a:cubicBezTo>
                  <a:cubicBezTo>
                    <a:pt x="48" y="11"/>
                    <a:pt x="45" y="11"/>
                    <a:pt x="41" y="10"/>
                  </a:cubicBezTo>
                  <a:cubicBezTo>
                    <a:pt x="37" y="10"/>
                    <a:pt x="33" y="10"/>
                    <a:pt x="30" y="10"/>
                  </a:cubicBezTo>
                  <a:cubicBezTo>
                    <a:pt x="23" y="10"/>
                    <a:pt x="18" y="11"/>
                    <a:pt x="15" y="13"/>
                  </a:cubicBezTo>
                  <a:cubicBezTo>
                    <a:pt x="12" y="15"/>
                    <a:pt x="11" y="18"/>
                    <a:pt x="11" y="23"/>
                  </a:cubicBezTo>
                  <a:cubicBezTo>
                    <a:pt x="11" y="25"/>
                    <a:pt x="11" y="26"/>
                    <a:pt x="11" y="28"/>
                  </a:cubicBezTo>
                  <a:cubicBezTo>
                    <a:pt x="12" y="29"/>
                    <a:pt x="12" y="31"/>
                    <a:pt x="13" y="32"/>
                  </a:cubicBezTo>
                  <a:cubicBezTo>
                    <a:pt x="14" y="33"/>
                    <a:pt x="16" y="35"/>
                    <a:pt x="17" y="36"/>
                  </a:cubicBezTo>
                  <a:cubicBezTo>
                    <a:pt x="19" y="37"/>
                    <a:pt x="21" y="39"/>
                    <a:pt x="24" y="41"/>
                  </a:cubicBezTo>
                  <a:cubicBezTo>
                    <a:pt x="36" y="49"/>
                    <a:pt x="36" y="49"/>
                    <a:pt x="36" y="49"/>
                  </a:cubicBezTo>
                  <a:cubicBezTo>
                    <a:pt x="43" y="54"/>
                    <a:pt x="48" y="59"/>
                    <a:pt x="51" y="65"/>
                  </a:cubicBezTo>
                  <a:cubicBezTo>
                    <a:pt x="54" y="70"/>
                    <a:pt x="56" y="76"/>
                    <a:pt x="56" y="83"/>
                  </a:cubicBezTo>
                  <a:cubicBezTo>
                    <a:pt x="56" y="93"/>
                    <a:pt x="56" y="93"/>
                    <a:pt x="56" y="93"/>
                  </a:cubicBezTo>
                  <a:cubicBezTo>
                    <a:pt x="56" y="94"/>
                    <a:pt x="56" y="94"/>
                    <a:pt x="55" y="95"/>
                  </a:cubicBezTo>
                  <a:cubicBezTo>
                    <a:pt x="55" y="95"/>
                    <a:pt x="54" y="96"/>
                    <a:pt x="53" y="96"/>
                  </a:cubicBezTo>
                  <a:cubicBezTo>
                    <a:pt x="3" y="96"/>
                    <a:pt x="3" y="96"/>
                    <a:pt x="3" y="96"/>
                  </a:cubicBezTo>
                  <a:cubicBezTo>
                    <a:pt x="3" y="96"/>
                    <a:pt x="2" y="95"/>
                    <a:pt x="2" y="95"/>
                  </a:cubicBezTo>
                  <a:cubicBezTo>
                    <a:pt x="1" y="94"/>
                    <a:pt x="1" y="94"/>
                    <a:pt x="1" y="93"/>
                  </a:cubicBezTo>
                  <a:cubicBezTo>
                    <a:pt x="1" y="88"/>
                    <a:pt x="1" y="88"/>
                    <a:pt x="1" y="88"/>
                  </a:cubicBezTo>
                  <a:cubicBezTo>
                    <a:pt x="1" y="87"/>
                    <a:pt x="1" y="86"/>
                    <a:pt x="2" y="86"/>
                  </a:cubicBezTo>
                  <a:cubicBezTo>
                    <a:pt x="2" y="86"/>
                    <a:pt x="3" y="85"/>
                    <a:pt x="3" y="85"/>
                  </a:cubicBezTo>
                  <a:cubicBezTo>
                    <a:pt x="46" y="85"/>
                    <a:pt x="46" y="85"/>
                    <a:pt x="46" y="85"/>
                  </a:cubicBezTo>
                  <a:cubicBezTo>
                    <a:pt x="46" y="83"/>
                    <a:pt x="46" y="83"/>
                    <a:pt x="46" y="83"/>
                  </a:cubicBezTo>
                  <a:cubicBezTo>
                    <a:pt x="46" y="80"/>
                    <a:pt x="46" y="77"/>
                    <a:pt x="45" y="75"/>
                  </a:cubicBezTo>
                  <a:cubicBezTo>
                    <a:pt x="44" y="73"/>
                    <a:pt x="44" y="71"/>
                    <a:pt x="42" y="69"/>
                  </a:cubicBezTo>
                  <a:cubicBezTo>
                    <a:pt x="41" y="66"/>
                    <a:pt x="39" y="64"/>
                    <a:pt x="37" y="62"/>
                  </a:cubicBezTo>
                  <a:cubicBezTo>
                    <a:pt x="35" y="60"/>
                    <a:pt x="32" y="58"/>
                    <a:pt x="28" y="56"/>
                  </a:cubicBezTo>
                  <a:cubicBezTo>
                    <a:pt x="16" y="47"/>
                    <a:pt x="16" y="47"/>
                    <a:pt x="16" y="47"/>
                  </a:cubicBezTo>
                  <a:cubicBezTo>
                    <a:pt x="10" y="43"/>
                    <a:pt x="6" y="39"/>
                    <a:pt x="3" y="36"/>
                  </a:cubicBezTo>
                  <a:cubicBezTo>
                    <a:pt x="1" y="32"/>
                    <a:pt x="0" y="28"/>
                    <a:pt x="0" y="23"/>
                  </a:cubicBezTo>
                  <a:cubicBezTo>
                    <a:pt x="0" y="15"/>
                    <a:pt x="2" y="9"/>
                    <a:pt x="7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2" name="Rectangle 1">
            <a:extLst>
              <a:ext uri="{FF2B5EF4-FFF2-40B4-BE49-F238E27FC236}">
                <a16:creationId xmlns:a16="http://schemas.microsoft.com/office/drawing/2014/main" id="{B545BCDF-AE9B-4A79-AB96-AD1ECE344488}"/>
              </a:ext>
            </a:extLst>
          </p:cNvPr>
          <p:cNvSpPr/>
          <p:nvPr/>
        </p:nvSpPr>
        <p:spPr>
          <a:xfrm>
            <a:off x="4033032" y="5872775"/>
            <a:ext cx="412593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Open Sans Light"/>
                <a:cs typeface="Segoe UI" panose="020B0502040204020203" pitchFamily="34" charset="0"/>
                <a:sym typeface="Open Sans Light"/>
              </a:rPr>
              <a:t>Go to 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Open Sans Light"/>
                <a:cs typeface="Segoe UI" panose="020B0502040204020203" pitchFamily="34" charset="0"/>
                <a:sym typeface="Open Sans Light"/>
              </a:rPr>
              <a:t>24Slides.com/</a:t>
            </a:r>
            <a:r>
              <a:rPr kumimoji="0" lang="id-ID" sz="1800" b="1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Open Sans Light"/>
                <a:cs typeface="Segoe UI" panose="020B0502040204020203" pitchFamily="34" charset="0"/>
                <a:sym typeface="Open Sans Light"/>
              </a:rPr>
              <a:t>sales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Open Sans Light"/>
                <a:cs typeface="Segoe UI" panose="020B0502040204020203" pitchFamily="34" charset="0"/>
                <a:sym typeface="Open Sans Light"/>
              </a:rPr>
              <a:t>to find out more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83D65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7182012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B5A9598E-620E-4294-9922-84E94B4501D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61388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5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C73731D2-CAA4-4FBA-A6D5-349C08FE0588}"/>
              </a:ext>
            </a:extLst>
          </p:cNvPr>
          <p:cNvSpPr/>
          <p:nvPr/>
        </p:nvSpPr>
        <p:spPr>
          <a:xfrm>
            <a:off x="1480458" y="1651000"/>
            <a:ext cx="10711542" cy="441597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 descr="A person working on a computer&#10;&#10;Description automatically generated with medium confidence">
            <a:extLst>
              <a:ext uri="{FF2B5EF4-FFF2-40B4-BE49-F238E27FC236}">
                <a16:creationId xmlns:a16="http://schemas.microsoft.com/office/drawing/2014/main" id="{48015A73-67A5-4423-8954-220CC4E48705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002" t="2619" r="42607" b="1613"/>
          <a:stretch/>
        </p:blipFill>
        <p:spPr>
          <a:xfrm>
            <a:off x="564244" y="2235200"/>
            <a:ext cx="1583871" cy="3831771"/>
          </a:xfrm>
          <a:custGeom>
            <a:avLst/>
            <a:gdLst>
              <a:gd name="connsiteX0" fmla="*/ 75297 w 1583871"/>
              <a:gd name="connsiteY0" fmla="*/ 0 h 3831771"/>
              <a:gd name="connsiteX1" fmla="*/ 1508574 w 1583871"/>
              <a:gd name="connsiteY1" fmla="*/ 0 h 3831771"/>
              <a:gd name="connsiteX2" fmla="*/ 1583871 w 1583871"/>
              <a:gd name="connsiteY2" fmla="*/ 75297 h 3831771"/>
              <a:gd name="connsiteX3" fmla="*/ 1583871 w 1583871"/>
              <a:gd name="connsiteY3" fmla="*/ 3756474 h 3831771"/>
              <a:gd name="connsiteX4" fmla="*/ 1508574 w 1583871"/>
              <a:gd name="connsiteY4" fmla="*/ 3831771 h 3831771"/>
              <a:gd name="connsiteX5" fmla="*/ 75297 w 1583871"/>
              <a:gd name="connsiteY5" fmla="*/ 3831771 h 3831771"/>
              <a:gd name="connsiteX6" fmla="*/ 0 w 1583871"/>
              <a:gd name="connsiteY6" fmla="*/ 3756474 h 3831771"/>
              <a:gd name="connsiteX7" fmla="*/ 0 w 1583871"/>
              <a:gd name="connsiteY7" fmla="*/ 75297 h 3831771"/>
              <a:gd name="connsiteX8" fmla="*/ 75297 w 1583871"/>
              <a:gd name="connsiteY8" fmla="*/ 0 h 38317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583871" h="3831771">
                <a:moveTo>
                  <a:pt x="75297" y="0"/>
                </a:moveTo>
                <a:lnTo>
                  <a:pt x="1508574" y="0"/>
                </a:lnTo>
                <a:cubicBezTo>
                  <a:pt x="1550159" y="0"/>
                  <a:pt x="1583871" y="33712"/>
                  <a:pt x="1583871" y="75297"/>
                </a:cubicBezTo>
                <a:lnTo>
                  <a:pt x="1583871" y="3756474"/>
                </a:lnTo>
                <a:cubicBezTo>
                  <a:pt x="1583871" y="3798059"/>
                  <a:pt x="1550159" y="3831771"/>
                  <a:pt x="1508574" y="3831771"/>
                </a:cubicBezTo>
                <a:lnTo>
                  <a:pt x="75297" y="3831771"/>
                </a:lnTo>
                <a:cubicBezTo>
                  <a:pt x="33712" y="3831771"/>
                  <a:pt x="0" y="3798059"/>
                  <a:pt x="0" y="3756474"/>
                </a:cubicBezTo>
                <a:lnTo>
                  <a:pt x="0" y="75297"/>
                </a:lnTo>
                <a:cubicBezTo>
                  <a:pt x="0" y="33712"/>
                  <a:pt x="33712" y="0"/>
                  <a:pt x="75297" y="0"/>
                </a:cubicBez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D76A6F0-799A-46CE-80C1-B2E89F9192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en-US" sz="3600" dirty="0"/>
              <a:t>Multiple project timeline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C42D1C2-7AAA-46F3-B372-40AEB3FE6F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13A2AF-9881-47E7-AE38-D70ECBD2298B}" type="slidenum">
              <a:rPr lang="en-US" smtClean="0"/>
              <a:t>5</a:t>
            </a:fld>
            <a:endParaRPr lang="en-US"/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D8145FC8-AACA-4D6A-8A49-5EB8F48B8E45}"/>
              </a:ext>
            </a:extLst>
          </p:cNvPr>
          <p:cNvSpPr/>
          <p:nvPr/>
        </p:nvSpPr>
        <p:spPr>
          <a:xfrm>
            <a:off x="564243" y="2235200"/>
            <a:ext cx="1583871" cy="3831771"/>
          </a:xfrm>
          <a:prstGeom prst="roundRect">
            <a:avLst>
              <a:gd name="adj" fmla="val 4754"/>
            </a:avLst>
          </a:prstGeom>
          <a:solidFill>
            <a:schemeClr val="tx1">
              <a:lumMod val="85000"/>
              <a:lumOff val="15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CDBC1AAF-DF9B-4EF8-8CFA-77CD37C936ED}"/>
              </a:ext>
            </a:extLst>
          </p:cNvPr>
          <p:cNvSpPr/>
          <p:nvPr/>
        </p:nvSpPr>
        <p:spPr>
          <a:xfrm>
            <a:off x="2301241" y="1431471"/>
            <a:ext cx="9326516" cy="537029"/>
          </a:xfrm>
          <a:prstGeom prst="roundRect">
            <a:avLst>
              <a:gd name="adj" fmla="val 12162"/>
            </a:avLst>
          </a:prstGeom>
          <a:gradFill flip="none" rotWithShape="1">
            <a:gsLst>
              <a:gs pos="0">
                <a:srgbClr val="295E7B"/>
              </a:gs>
              <a:gs pos="100000">
                <a:srgbClr val="3B87B1"/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E795DBF0-484B-4FE0-A98B-7E34092FC3F6}"/>
              </a:ext>
            </a:extLst>
          </p:cNvPr>
          <p:cNvSpPr/>
          <p:nvPr/>
        </p:nvSpPr>
        <p:spPr>
          <a:xfrm>
            <a:off x="2305050" y="1536155"/>
            <a:ext cx="1520821" cy="327660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b="1" dirty="0">
                <a:latin typeface="Segoe UI" panose="020B0502040204020203" pitchFamily="34" charset="0"/>
                <a:cs typeface="Segoe UI" panose="020B0502040204020203" pitchFamily="34" charset="0"/>
              </a:rPr>
              <a:t>2017</a:t>
            </a:r>
            <a:endParaRPr lang="en-US" b="1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96176D1A-2422-4CFE-9659-95911BF8C352}"/>
              </a:ext>
            </a:extLst>
          </p:cNvPr>
          <p:cNvSpPr/>
          <p:nvPr/>
        </p:nvSpPr>
        <p:spPr>
          <a:xfrm>
            <a:off x="3829050" y="1536155"/>
            <a:ext cx="1520821" cy="327660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b="1" dirty="0">
                <a:latin typeface="Segoe UI" panose="020B0502040204020203" pitchFamily="34" charset="0"/>
                <a:cs typeface="Segoe UI" panose="020B0502040204020203" pitchFamily="34" charset="0"/>
              </a:rPr>
              <a:t>2018</a:t>
            </a:r>
            <a:endParaRPr lang="en-US" b="1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4" name="Rectangle: Rounded Corners 23">
            <a:extLst>
              <a:ext uri="{FF2B5EF4-FFF2-40B4-BE49-F238E27FC236}">
                <a16:creationId xmlns:a16="http://schemas.microsoft.com/office/drawing/2014/main" id="{AC1B6E41-99E8-4B2A-A7EC-E235AE6E8311}"/>
              </a:ext>
            </a:extLst>
          </p:cNvPr>
          <p:cNvSpPr/>
          <p:nvPr/>
        </p:nvSpPr>
        <p:spPr>
          <a:xfrm>
            <a:off x="5337810" y="1536155"/>
            <a:ext cx="1520821" cy="327660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b="1" dirty="0">
                <a:latin typeface="Segoe UI" panose="020B0502040204020203" pitchFamily="34" charset="0"/>
                <a:cs typeface="Segoe UI" panose="020B0502040204020203" pitchFamily="34" charset="0"/>
              </a:rPr>
              <a:t>2019</a:t>
            </a:r>
            <a:endParaRPr lang="en-US" b="1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5DF67C28-83A4-45E3-981F-9E56C5F23F31}"/>
              </a:ext>
            </a:extLst>
          </p:cNvPr>
          <p:cNvSpPr/>
          <p:nvPr/>
        </p:nvSpPr>
        <p:spPr>
          <a:xfrm>
            <a:off x="6871335" y="1536155"/>
            <a:ext cx="1520821" cy="327660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b="1" dirty="0">
                <a:latin typeface="Segoe UI" panose="020B0502040204020203" pitchFamily="34" charset="0"/>
                <a:cs typeface="Segoe UI" panose="020B0502040204020203" pitchFamily="34" charset="0"/>
              </a:rPr>
              <a:t>2020</a:t>
            </a:r>
            <a:endParaRPr lang="en-US" b="1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6" name="Rectangle: Rounded Corners 25">
            <a:extLst>
              <a:ext uri="{FF2B5EF4-FFF2-40B4-BE49-F238E27FC236}">
                <a16:creationId xmlns:a16="http://schemas.microsoft.com/office/drawing/2014/main" id="{338732B7-27ED-4F50-BF76-F296FFD2C378}"/>
              </a:ext>
            </a:extLst>
          </p:cNvPr>
          <p:cNvSpPr/>
          <p:nvPr/>
        </p:nvSpPr>
        <p:spPr>
          <a:xfrm>
            <a:off x="8404860" y="1536155"/>
            <a:ext cx="1520821" cy="327660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b="1" dirty="0">
                <a:latin typeface="Segoe UI" panose="020B0502040204020203" pitchFamily="34" charset="0"/>
                <a:cs typeface="Segoe UI" panose="020B0502040204020203" pitchFamily="34" charset="0"/>
              </a:rPr>
              <a:t>2021</a:t>
            </a:r>
            <a:endParaRPr lang="en-US" b="1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7" name="Rectangle: Rounded Corners 26">
            <a:extLst>
              <a:ext uri="{FF2B5EF4-FFF2-40B4-BE49-F238E27FC236}">
                <a16:creationId xmlns:a16="http://schemas.microsoft.com/office/drawing/2014/main" id="{0B7645FC-5BE2-4C78-BE4B-4E031D7FE3E1}"/>
              </a:ext>
            </a:extLst>
          </p:cNvPr>
          <p:cNvSpPr/>
          <p:nvPr/>
        </p:nvSpPr>
        <p:spPr>
          <a:xfrm>
            <a:off x="9909810" y="1536155"/>
            <a:ext cx="1520821" cy="327660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b="1" dirty="0">
                <a:latin typeface="Segoe UI" panose="020B0502040204020203" pitchFamily="34" charset="0"/>
                <a:cs typeface="Segoe UI" panose="020B0502040204020203" pitchFamily="34" charset="0"/>
              </a:rPr>
              <a:t>2021</a:t>
            </a:r>
            <a:endParaRPr lang="en-US" b="1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680D9353-6268-445A-8B1A-FC60AC8A75A8}"/>
              </a:ext>
            </a:extLst>
          </p:cNvPr>
          <p:cNvGrpSpPr/>
          <p:nvPr/>
        </p:nvGrpSpPr>
        <p:grpSpPr>
          <a:xfrm>
            <a:off x="3825875" y="1517150"/>
            <a:ext cx="6083300" cy="365671"/>
            <a:chOff x="3825875" y="-558800"/>
            <a:chExt cx="6083300" cy="7924800"/>
          </a:xfrm>
        </p:grpSpPr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0FF6BC84-6E0E-43CE-BD65-274E4A498808}"/>
                </a:ext>
              </a:extLst>
            </p:cNvPr>
            <p:cNvCxnSpPr/>
            <p:nvPr/>
          </p:nvCxnSpPr>
          <p:spPr>
            <a:xfrm>
              <a:off x="3825875" y="-558800"/>
              <a:ext cx="0" cy="792480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B213A625-8CFE-4669-8B70-8AA8286D4F72}"/>
                </a:ext>
              </a:extLst>
            </p:cNvPr>
            <p:cNvCxnSpPr/>
            <p:nvPr/>
          </p:nvCxnSpPr>
          <p:spPr>
            <a:xfrm>
              <a:off x="5346700" y="-558800"/>
              <a:ext cx="0" cy="792480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C1E720DB-136E-4DDE-B7DD-2A58B3898155}"/>
                </a:ext>
              </a:extLst>
            </p:cNvPr>
            <p:cNvCxnSpPr/>
            <p:nvPr/>
          </p:nvCxnSpPr>
          <p:spPr>
            <a:xfrm>
              <a:off x="8388350" y="-558800"/>
              <a:ext cx="0" cy="792480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845FEB09-8319-49E9-B485-21A8828ED557}"/>
                </a:ext>
              </a:extLst>
            </p:cNvPr>
            <p:cNvCxnSpPr/>
            <p:nvPr/>
          </p:nvCxnSpPr>
          <p:spPr>
            <a:xfrm>
              <a:off x="9909175" y="-558800"/>
              <a:ext cx="0" cy="792480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F74BFFA3-4E91-4670-81F5-1F50E6A943AB}"/>
                </a:ext>
              </a:extLst>
            </p:cNvPr>
            <p:cNvCxnSpPr/>
            <p:nvPr/>
          </p:nvCxnSpPr>
          <p:spPr>
            <a:xfrm>
              <a:off x="6867525" y="-558800"/>
              <a:ext cx="0" cy="792480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7" name="Group 56">
            <a:extLst>
              <a:ext uri="{FF2B5EF4-FFF2-40B4-BE49-F238E27FC236}">
                <a16:creationId xmlns:a16="http://schemas.microsoft.com/office/drawing/2014/main" id="{D69ACB48-E7C5-490B-B78C-E439CFC4E2CE}"/>
              </a:ext>
            </a:extLst>
          </p:cNvPr>
          <p:cNvGrpSpPr/>
          <p:nvPr/>
        </p:nvGrpSpPr>
        <p:grpSpPr>
          <a:xfrm>
            <a:off x="564243" y="2896281"/>
            <a:ext cx="1583871" cy="2373087"/>
            <a:chOff x="-271463" y="2896281"/>
            <a:chExt cx="13044034" cy="2373087"/>
          </a:xfrm>
        </p:grpSpPr>
        <p:cxnSp>
          <p:nvCxnSpPr>
            <p:cNvPr id="37" name="Straight Connector 36">
              <a:extLst>
                <a:ext uri="{FF2B5EF4-FFF2-40B4-BE49-F238E27FC236}">
                  <a16:creationId xmlns:a16="http://schemas.microsoft.com/office/drawing/2014/main" id="{AEC0E4AB-30AA-4F27-81B0-65EB7344B46A}"/>
                </a:ext>
              </a:extLst>
            </p:cNvPr>
            <p:cNvCxnSpPr>
              <a:cxnSpLocks/>
            </p:cNvCxnSpPr>
            <p:nvPr/>
          </p:nvCxnSpPr>
          <p:spPr>
            <a:xfrm>
              <a:off x="-271463" y="2896281"/>
              <a:ext cx="13044034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>
              <a:extLst>
                <a:ext uri="{FF2B5EF4-FFF2-40B4-BE49-F238E27FC236}">
                  <a16:creationId xmlns:a16="http://schemas.microsoft.com/office/drawing/2014/main" id="{54612645-E2C5-48BF-9851-F06B6BC9F5F6}"/>
                </a:ext>
              </a:extLst>
            </p:cNvPr>
            <p:cNvCxnSpPr>
              <a:cxnSpLocks/>
            </p:cNvCxnSpPr>
            <p:nvPr/>
          </p:nvCxnSpPr>
          <p:spPr>
            <a:xfrm>
              <a:off x="-271463" y="3687310"/>
              <a:ext cx="13044034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6A7110B9-4D96-459A-A3D9-6567759EEB9A}"/>
                </a:ext>
              </a:extLst>
            </p:cNvPr>
            <p:cNvCxnSpPr>
              <a:cxnSpLocks/>
            </p:cNvCxnSpPr>
            <p:nvPr/>
          </p:nvCxnSpPr>
          <p:spPr>
            <a:xfrm>
              <a:off x="-271463" y="4478339"/>
              <a:ext cx="13044034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D1BB6414-2854-434D-A099-162AECD1F564}"/>
                </a:ext>
              </a:extLst>
            </p:cNvPr>
            <p:cNvCxnSpPr>
              <a:cxnSpLocks/>
            </p:cNvCxnSpPr>
            <p:nvPr/>
          </p:nvCxnSpPr>
          <p:spPr>
            <a:xfrm>
              <a:off x="-271463" y="5269368"/>
              <a:ext cx="13044034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2" name="Rectangle: Rounded Corners 41">
            <a:extLst>
              <a:ext uri="{FF2B5EF4-FFF2-40B4-BE49-F238E27FC236}">
                <a16:creationId xmlns:a16="http://schemas.microsoft.com/office/drawing/2014/main" id="{DC66B432-F979-4B25-8256-5D5F77F790DD}"/>
              </a:ext>
            </a:extLst>
          </p:cNvPr>
          <p:cNvSpPr/>
          <p:nvPr/>
        </p:nvSpPr>
        <p:spPr>
          <a:xfrm>
            <a:off x="793116" y="2405879"/>
            <a:ext cx="1200784" cy="327660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da-DK" sz="1400" b="1" i="1" dirty="0">
                <a:latin typeface="Segoe UI Light" panose="020B0502040204020203" pitchFamily="34" charset="0"/>
                <a:cs typeface="Segoe UI Light" panose="020B0502040204020203" pitchFamily="34" charset="0"/>
              </a:rPr>
              <a:t>Lorem ipsum</a:t>
            </a:r>
            <a:endParaRPr lang="en-US" sz="1400" b="1" i="1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43" name="Rectangle: Rounded Corners 42">
            <a:extLst>
              <a:ext uri="{FF2B5EF4-FFF2-40B4-BE49-F238E27FC236}">
                <a16:creationId xmlns:a16="http://schemas.microsoft.com/office/drawing/2014/main" id="{7AC07101-8CF6-4A4C-B2EF-1B1DF65DDAB2}"/>
              </a:ext>
            </a:extLst>
          </p:cNvPr>
          <p:cNvSpPr/>
          <p:nvPr/>
        </p:nvSpPr>
        <p:spPr>
          <a:xfrm>
            <a:off x="793116" y="3179672"/>
            <a:ext cx="1200784" cy="327660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da-DK" sz="1400" b="1" i="1" dirty="0">
                <a:latin typeface="Segoe UI Light" panose="020B0502040204020203" pitchFamily="34" charset="0"/>
                <a:cs typeface="Segoe UI Light" panose="020B0502040204020203" pitchFamily="34" charset="0"/>
              </a:rPr>
              <a:t>Lorem ipsum</a:t>
            </a:r>
            <a:endParaRPr lang="en-US" sz="1400" b="1" i="1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44" name="Rectangle: Rounded Corners 43">
            <a:extLst>
              <a:ext uri="{FF2B5EF4-FFF2-40B4-BE49-F238E27FC236}">
                <a16:creationId xmlns:a16="http://schemas.microsoft.com/office/drawing/2014/main" id="{62233B7D-7FC4-4EE9-98E0-5534C1178569}"/>
              </a:ext>
            </a:extLst>
          </p:cNvPr>
          <p:cNvSpPr/>
          <p:nvPr/>
        </p:nvSpPr>
        <p:spPr>
          <a:xfrm>
            <a:off x="793116" y="3953465"/>
            <a:ext cx="1200784" cy="327660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da-DK" sz="1400" b="1" i="1" dirty="0">
                <a:latin typeface="Segoe UI Light" panose="020B0502040204020203" pitchFamily="34" charset="0"/>
                <a:cs typeface="Segoe UI Light" panose="020B0502040204020203" pitchFamily="34" charset="0"/>
              </a:rPr>
              <a:t>Lorem ipsum</a:t>
            </a:r>
            <a:endParaRPr lang="en-US" sz="1400" b="1" i="1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45" name="Rectangle: Rounded Corners 44">
            <a:extLst>
              <a:ext uri="{FF2B5EF4-FFF2-40B4-BE49-F238E27FC236}">
                <a16:creationId xmlns:a16="http://schemas.microsoft.com/office/drawing/2014/main" id="{3B354A2E-DCB0-41EC-A353-BFE5630E7A0F}"/>
              </a:ext>
            </a:extLst>
          </p:cNvPr>
          <p:cNvSpPr/>
          <p:nvPr/>
        </p:nvSpPr>
        <p:spPr>
          <a:xfrm>
            <a:off x="793116" y="4727258"/>
            <a:ext cx="1200784" cy="327660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da-DK" sz="1400" b="1" i="1" dirty="0">
                <a:latin typeface="Segoe UI Light" panose="020B0502040204020203" pitchFamily="34" charset="0"/>
                <a:cs typeface="Segoe UI Light" panose="020B0502040204020203" pitchFamily="34" charset="0"/>
              </a:rPr>
              <a:t>Lorem ipsum</a:t>
            </a:r>
            <a:endParaRPr lang="en-US" sz="1400" b="1" i="1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46" name="Rectangle: Rounded Corners 45">
            <a:extLst>
              <a:ext uri="{FF2B5EF4-FFF2-40B4-BE49-F238E27FC236}">
                <a16:creationId xmlns:a16="http://schemas.microsoft.com/office/drawing/2014/main" id="{FCC0F9D6-7739-4C2F-AF14-D9EC9FF8146E}"/>
              </a:ext>
            </a:extLst>
          </p:cNvPr>
          <p:cNvSpPr/>
          <p:nvPr/>
        </p:nvSpPr>
        <p:spPr>
          <a:xfrm>
            <a:off x="793116" y="5501052"/>
            <a:ext cx="1200784" cy="327660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da-DK" sz="1400" b="1" i="1" dirty="0">
                <a:latin typeface="Segoe UI Light" panose="020B0502040204020203" pitchFamily="34" charset="0"/>
                <a:cs typeface="Segoe UI Light" panose="020B0502040204020203" pitchFamily="34" charset="0"/>
              </a:rPr>
              <a:t>Lorem ipsum</a:t>
            </a:r>
            <a:endParaRPr lang="en-US" sz="1400" b="1" i="1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47" name="Rectangle: Rounded Corners 46">
            <a:extLst>
              <a:ext uri="{FF2B5EF4-FFF2-40B4-BE49-F238E27FC236}">
                <a16:creationId xmlns:a16="http://schemas.microsoft.com/office/drawing/2014/main" id="{43828DBB-74F6-4BF5-B1FE-D6359701001D}"/>
              </a:ext>
            </a:extLst>
          </p:cNvPr>
          <p:cNvSpPr/>
          <p:nvPr/>
        </p:nvSpPr>
        <p:spPr>
          <a:xfrm>
            <a:off x="2301241" y="2369785"/>
            <a:ext cx="3044825" cy="403477"/>
          </a:xfrm>
          <a:prstGeom prst="roundRect">
            <a:avLst>
              <a:gd name="adj" fmla="val 50000"/>
            </a:avLst>
          </a:prstGeom>
          <a:solidFill>
            <a:srgbClr val="6B2B9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i="1" dirty="0">
                <a:latin typeface="Segoe UI Light" panose="020B0502040204020203" pitchFamily="34" charset="0"/>
                <a:cs typeface="Segoe UI Light" panose="020B0502040204020203" pitchFamily="34" charset="0"/>
              </a:rPr>
              <a:t>Lorem ipsum</a:t>
            </a:r>
          </a:p>
        </p:txBody>
      </p:sp>
      <p:sp>
        <p:nvSpPr>
          <p:cNvPr id="48" name="Rectangle: Rounded Corners 47">
            <a:extLst>
              <a:ext uri="{FF2B5EF4-FFF2-40B4-BE49-F238E27FC236}">
                <a16:creationId xmlns:a16="http://schemas.microsoft.com/office/drawing/2014/main" id="{6A9594FC-01E1-4321-B155-79A0707A4CFB}"/>
              </a:ext>
            </a:extLst>
          </p:cNvPr>
          <p:cNvSpPr/>
          <p:nvPr/>
        </p:nvSpPr>
        <p:spPr>
          <a:xfrm>
            <a:off x="2835456" y="3090057"/>
            <a:ext cx="3260539" cy="403477"/>
          </a:xfrm>
          <a:prstGeom prst="roundRect">
            <a:avLst>
              <a:gd name="adj" fmla="val 50000"/>
            </a:avLst>
          </a:prstGeom>
          <a:solidFill>
            <a:srgbClr val="DE4D1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800" b="1" i="1" dirty="0">
                <a:latin typeface="Segoe UI Light" panose="020B0502040204020203" pitchFamily="34" charset="0"/>
                <a:cs typeface="Segoe UI Light" panose="020B0502040204020203" pitchFamily="34" charset="0"/>
              </a:rPr>
              <a:t>Lorem ipsum</a:t>
            </a:r>
            <a:endParaRPr lang="en-US" sz="1800" b="1" i="1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49" name="Rectangle: Rounded Corners 48">
            <a:extLst>
              <a:ext uri="{FF2B5EF4-FFF2-40B4-BE49-F238E27FC236}">
                <a16:creationId xmlns:a16="http://schemas.microsoft.com/office/drawing/2014/main" id="{8FF738F4-D580-42C8-93AB-3C383AECF403}"/>
              </a:ext>
            </a:extLst>
          </p:cNvPr>
          <p:cNvSpPr/>
          <p:nvPr/>
        </p:nvSpPr>
        <p:spPr>
          <a:xfrm>
            <a:off x="2835456" y="3876412"/>
            <a:ext cx="5569401" cy="403477"/>
          </a:xfrm>
          <a:prstGeom prst="roundRect">
            <a:avLst>
              <a:gd name="adj" fmla="val 50000"/>
            </a:avLst>
          </a:prstGeom>
          <a:solidFill>
            <a:srgbClr val="FDD0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800" b="1" i="1" dirty="0">
                <a:latin typeface="Segoe UI Light" panose="020B0502040204020203" pitchFamily="34" charset="0"/>
                <a:cs typeface="Segoe UI Light" panose="020B0502040204020203" pitchFamily="34" charset="0"/>
              </a:rPr>
              <a:t>Lorem ipsum</a:t>
            </a:r>
            <a:endParaRPr lang="en-US" sz="1800" b="1" i="1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50" name="Rectangle: Rounded Corners 49">
            <a:extLst>
              <a:ext uri="{FF2B5EF4-FFF2-40B4-BE49-F238E27FC236}">
                <a16:creationId xmlns:a16="http://schemas.microsoft.com/office/drawing/2014/main" id="{F418F5AA-C9B1-4FDD-962E-30825074BF40}"/>
              </a:ext>
            </a:extLst>
          </p:cNvPr>
          <p:cNvSpPr/>
          <p:nvPr/>
        </p:nvSpPr>
        <p:spPr>
          <a:xfrm>
            <a:off x="5346066" y="4672115"/>
            <a:ext cx="4571362" cy="403477"/>
          </a:xfrm>
          <a:prstGeom prst="roundRect">
            <a:avLst>
              <a:gd name="adj" fmla="val 50000"/>
            </a:avLst>
          </a:prstGeom>
          <a:solidFill>
            <a:srgbClr val="A6B72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800" b="1" i="1" dirty="0">
                <a:latin typeface="Segoe UI Light" panose="020B0502040204020203" pitchFamily="34" charset="0"/>
                <a:cs typeface="Segoe UI Light" panose="020B0502040204020203" pitchFamily="34" charset="0"/>
              </a:rPr>
              <a:t>Lorem ipsum</a:t>
            </a:r>
            <a:endParaRPr lang="en-US" sz="1800" b="1" i="1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51" name="Rectangle: Rounded Corners 50">
            <a:extLst>
              <a:ext uri="{FF2B5EF4-FFF2-40B4-BE49-F238E27FC236}">
                <a16:creationId xmlns:a16="http://schemas.microsoft.com/office/drawing/2014/main" id="{77E0B37C-1480-4AD6-A99C-77AA492DC36D}"/>
              </a:ext>
            </a:extLst>
          </p:cNvPr>
          <p:cNvSpPr/>
          <p:nvPr/>
        </p:nvSpPr>
        <p:spPr>
          <a:xfrm>
            <a:off x="6887935" y="5463143"/>
            <a:ext cx="4571362" cy="403477"/>
          </a:xfrm>
          <a:prstGeom prst="roundRect">
            <a:avLst>
              <a:gd name="adj" fmla="val 50000"/>
            </a:avLst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i="1" dirty="0">
                <a:latin typeface="Segoe UI Light" panose="020B0502040204020203" pitchFamily="34" charset="0"/>
                <a:cs typeface="Segoe UI Light" panose="020B0502040204020203" pitchFamily="34" charset="0"/>
              </a:rPr>
              <a:t>Lorem ipsum</a:t>
            </a:r>
          </a:p>
        </p:txBody>
      </p:sp>
      <p:sp>
        <p:nvSpPr>
          <p:cNvPr id="52" name="Freeform 35">
            <a:extLst>
              <a:ext uri="{FF2B5EF4-FFF2-40B4-BE49-F238E27FC236}">
                <a16:creationId xmlns:a16="http://schemas.microsoft.com/office/drawing/2014/main" id="{055429AD-D3E7-49FB-982B-A3066858BBE9}"/>
              </a:ext>
            </a:extLst>
          </p:cNvPr>
          <p:cNvSpPr>
            <a:spLocks noEditPoints="1"/>
          </p:cNvSpPr>
          <p:nvPr/>
        </p:nvSpPr>
        <p:spPr bwMode="auto">
          <a:xfrm>
            <a:off x="5034741" y="2450596"/>
            <a:ext cx="240795" cy="241855"/>
          </a:xfrm>
          <a:custGeom>
            <a:avLst/>
            <a:gdLst>
              <a:gd name="T0" fmla="*/ 48 w 96"/>
              <a:gd name="T1" fmla="*/ 0 h 96"/>
              <a:gd name="T2" fmla="*/ 0 w 96"/>
              <a:gd name="T3" fmla="*/ 48 h 96"/>
              <a:gd name="T4" fmla="*/ 48 w 96"/>
              <a:gd name="T5" fmla="*/ 96 h 96"/>
              <a:gd name="T6" fmla="*/ 96 w 96"/>
              <a:gd name="T7" fmla="*/ 48 h 96"/>
              <a:gd name="T8" fmla="*/ 48 w 96"/>
              <a:gd name="T9" fmla="*/ 0 h 96"/>
              <a:gd name="T10" fmla="*/ 75 w 96"/>
              <a:gd name="T11" fmla="*/ 52 h 96"/>
              <a:gd name="T12" fmla="*/ 53 w 96"/>
              <a:gd name="T13" fmla="*/ 76 h 96"/>
              <a:gd name="T14" fmla="*/ 48 w 96"/>
              <a:gd name="T15" fmla="*/ 77 h 96"/>
              <a:gd name="T16" fmla="*/ 44 w 96"/>
              <a:gd name="T17" fmla="*/ 76 h 96"/>
              <a:gd name="T18" fmla="*/ 43 w 96"/>
              <a:gd name="T19" fmla="*/ 75 h 96"/>
              <a:gd name="T20" fmla="*/ 43 w 96"/>
              <a:gd name="T21" fmla="*/ 66 h 96"/>
              <a:gd name="T22" fmla="*/ 52 w 96"/>
              <a:gd name="T23" fmla="*/ 56 h 96"/>
              <a:gd name="T24" fmla="*/ 22 w 96"/>
              <a:gd name="T25" fmla="*/ 56 h 96"/>
              <a:gd name="T26" fmla="*/ 16 w 96"/>
              <a:gd name="T27" fmla="*/ 50 h 96"/>
              <a:gd name="T28" fmla="*/ 16 w 96"/>
              <a:gd name="T29" fmla="*/ 46 h 96"/>
              <a:gd name="T30" fmla="*/ 22 w 96"/>
              <a:gd name="T31" fmla="*/ 40 h 96"/>
              <a:gd name="T32" fmla="*/ 52 w 96"/>
              <a:gd name="T33" fmla="*/ 40 h 96"/>
              <a:gd name="T34" fmla="*/ 42 w 96"/>
              <a:gd name="T35" fmla="*/ 30 h 96"/>
              <a:gd name="T36" fmla="*/ 43 w 96"/>
              <a:gd name="T37" fmla="*/ 22 h 96"/>
              <a:gd name="T38" fmla="*/ 44 w 96"/>
              <a:gd name="T39" fmla="*/ 20 h 96"/>
              <a:gd name="T40" fmla="*/ 52 w 96"/>
              <a:gd name="T41" fmla="*/ 20 h 96"/>
              <a:gd name="T42" fmla="*/ 75 w 96"/>
              <a:gd name="T43" fmla="*/ 44 h 96"/>
              <a:gd name="T44" fmla="*/ 75 w 96"/>
              <a:gd name="T45" fmla="*/ 52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96" h="96">
                <a:moveTo>
                  <a:pt x="48" y="0"/>
                </a:moveTo>
                <a:cubicBezTo>
                  <a:pt x="22" y="0"/>
                  <a:pt x="0" y="22"/>
                  <a:pt x="0" y="48"/>
                </a:cubicBezTo>
                <a:cubicBezTo>
                  <a:pt x="0" y="74"/>
                  <a:pt x="22" y="96"/>
                  <a:pt x="48" y="96"/>
                </a:cubicBezTo>
                <a:cubicBezTo>
                  <a:pt x="75" y="96"/>
                  <a:pt x="96" y="74"/>
                  <a:pt x="96" y="48"/>
                </a:cubicBezTo>
                <a:cubicBezTo>
                  <a:pt x="96" y="22"/>
                  <a:pt x="75" y="0"/>
                  <a:pt x="48" y="0"/>
                </a:cubicBezTo>
                <a:close/>
                <a:moveTo>
                  <a:pt x="75" y="52"/>
                </a:moveTo>
                <a:cubicBezTo>
                  <a:pt x="53" y="76"/>
                  <a:pt x="53" y="76"/>
                  <a:pt x="53" y="76"/>
                </a:cubicBezTo>
                <a:cubicBezTo>
                  <a:pt x="52" y="77"/>
                  <a:pt x="50" y="77"/>
                  <a:pt x="48" y="77"/>
                </a:cubicBezTo>
                <a:cubicBezTo>
                  <a:pt x="47" y="77"/>
                  <a:pt x="45" y="77"/>
                  <a:pt x="44" y="76"/>
                </a:cubicBezTo>
                <a:cubicBezTo>
                  <a:pt x="43" y="75"/>
                  <a:pt x="43" y="75"/>
                  <a:pt x="43" y="75"/>
                </a:cubicBezTo>
                <a:cubicBezTo>
                  <a:pt x="41" y="72"/>
                  <a:pt x="41" y="68"/>
                  <a:pt x="43" y="66"/>
                </a:cubicBezTo>
                <a:cubicBezTo>
                  <a:pt x="52" y="56"/>
                  <a:pt x="52" y="56"/>
                  <a:pt x="52" y="56"/>
                </a:cubicBezTo>
                <a:cubicBezTo>
                  <a:pt x="22" y="56"/>
                  <a:pt x="22" y="56"/>
                  <a:pt x="22" y="56"/>
                </a:cubicBezTo>
                <a:cubicBezTo>
                  <a:pt x="19" y="56"/>
                  <a:pt x="16" y="53"/>
                  <a:pt x="16" y="50"/>
                </a:cubicBezTo>
                <a:cubicBezTo>
                  <a:pt x="16" y="46"/>
                  <a:pt x="16" y="46"/>
                  <a:pt x="16" y="46"/>
                </a:cubicBezTo>
                <a:cubicBezTo>
                  <a:pt x="16" y="43"/>
                  <a:pt x="19" y="40"/>
                  <a:pt x="22" y="40"/>
                </a:cubicBezTo>
                <a:cubicBezTo>
                  <a:pt x="52" y="40"/>
                  <a:pt x="52" y="40"/>
                  <a:pt x="52" y="40"/>
                </a:cubicBezTo>
                <a:cubicBezTo>
                  <a:pt x="42" y="30"/>
                  <a:pt x="42" y="30"/>
                  <a:pt x="42" y="30"/>
                </a:cubicBezTo>
                <a:cubicBezTo>
                  <a:pt x="40" y="28"/>
                  <a:pt x="40" y="24"/>
                  <a:pt x="43" y="22"/>
                </a:cubicBezTo>
                <a:cubicBezTo>
                  <a:pt x="44" y="20"/>
                  <a:pt x="44" y="20"/>
                  <a:pt x="44" y="20"/>
                </a:cubicBezTo>
                <a:cubicBezTo>
                  <a:pt x="46" y="18"/>
                  <a:pt x="50" y="18"/>
                  <a:pt x="52" y="20"/>
                </a:cubicBezTo>
                <a:cubicBezTo>
                  <a:pt x="75" y="44"/>
                  <a:pt x="75" y="44"/>
                  <a:pt x="75" y="44"/>
                </a:cubicBezTo>
                <a:cubicBezTo>
                  <a:pt x="77" y="46"/>
                  <a:pt x="77" y="50"/>
                  <a:pt x="75" y="5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53" name="Freeform 35">
            <a:extLst>
              <a:ext uri="{FF2B5EF4-FFF2-40B4-BE49-F238E27FC236}">
                <a16:creationId xmlns:a16="http://schemas.microsoft.com/office/drawing/2014/main" id="{9F374F76-0581-4078-A502-0767DE15DA78}"/>
              </a:ext>
            </a:extLst>
          </p:cNvPr>
          <p:cNvSpPr>
            <a:spLocks noEditPoints="1"/>
          </p:cNvSpPr>
          <p:nvPr/>
        </p:nvSpPr>
        <p:spPr bwMode="auto">
          <a:xfrm>
            <a:off x="5753832" y="3170868"/>
            <a:ext cx="240795" cy="241855"/>
          </a:xfrm>
          <a:custGeom>
            <a:avLst/>
            <a:gdLst>
              <a:gd name="T0" fmla="*/ 48 w 96"/>
              <a:gd name="T1" fmla="*/ 0 h 96"/>
              <a:gd name="T2" fmla="*/ 0 w 96"/>
              <a:gd name="T3" fmla="*/ 48 h 96"/>
              <a:gd name="T4" fmla="*/ 48 w 96"/>
              <a:gd name="T5" fmla="*/ 96 h 96"/>
              <a:gd name="T6" fmla="*/ 96 w 96"/>
              <a:gd name="T7" fmla="*/ 48 h 96"/>
              <a:gd name="T8" fmla="*/ 48 w 96"/>
              <a:gd name="T9" fmla="*/ 0 h 96"/>
              <a:gd name="T10" fmla="*/ 75 w 96"/>
              <a:gd name="T11" fmla="*/ 52 h 96"/>
              <a:gd name="T12" fmla="*/ 53 w 96"/>
              <a:gd name="T13" fmla="*/ 76 h 96"/>
              <a:gd name="T14" fmla="*/ 48 w 96"/>
              <a:gd name="T15" fmla="*/ 77 h 96"/>
              <a:gd name="T16" fmla="*/ 44 w 96"/>
              <a:gd name="T17" fmla="*/ 76 h 96"/>
              <a:gd name="T18" fmla="*/ 43 w 96"/>
              <a:gd name="T19" fmla="*/ 75 h 96"/>
              <a:gd name="T20" fmla="*/ 43 w 96"/>
              <a:gd name="T21" fmla="*/ 66 h 96"/>
              <a:gd name="T22" fmla="*/ 52 w 96"/>
              <a:gd name="T23" fmla="*/ 56 h 96"/>
              <a:gd name="T24" fmla="*/ 22 w 96"/>
              <a:gd name="T25" fmla="*/ 56 h 96"/>
              <a:gd name="T26" fmla="*/ 16 w 96"/>
              <a:gd name="T27" fmla="*/ 50 h 96"/>
              <a:gd name="T28" fmla="*/ 16 w 96"/>
              <a:gd name="T29" fmla="*/ 46 h 96"/>
              <a:gd name="T30" fmla="*/ 22 w 96"/>
              <a:gd name="T31" fmla="*/ 40 h 96"/>
              <a:gd name="T32" fmla="*/ 52 w 96"/>
              <a:gd name="T33" fmla="*/ 40 h 96"/>
              <a:gd name="T34" fmla="*/ 42 w 96"/>
              <a:gd name="T35" fmla="*/ 30 h 96"/>
              <a:gd name="T36" fmla="*/ 43 w 96"/>
              <a:gd name="T37" fmla="*/ 22 h 96"/>
              <a:gd name="T38" fmla="*/ 44 w 96"/>
              <a:gd name="T39" fmla="*/ 20 h 96"/>
              <a:gd name="T40" fmla="*/ 52 w 96"/>
              <a:gd name="T41" fmla="*/ 20 h 96"/>
              <a:gd name="T42" fmla="*/ 75 w 96"/>
              <a:gd name="T43" fmla="*/ 44 h 96"/>
              <a:gd name="T44" fmla="*/ 75 w 96"/>
              <a:gd name="T45" fmla="*/ 52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96" h="96">
                <a:moveTo>
                  <a:pt x="48" y="0"/>
                </a:moveTo>
                <a:cubicBezTo>
                  <a:pt x="22" y="0"/>
                  <a:pt x="0" y="22"/>
                  <a:pt x="0" y="48"/>
                </a:cubicBezTo>
                <a:cubicBezTo>
                  <a:pt x="0" y="74"/>
                  <a:pt x="22" y="96"/>
                  <a:pt x="48" y="96"/>
                </a:cubicBezTo>
                <a:cubicBezTo>
                  <a:pt x="75" y="96"/>
                  <a:pt x="96" y="74"/>
                  <a:pt x="96" y="48"/>
                </a:cubicBezTo>
                <a:cubicBezTo>
                  <a:pt x="96" y="22"/>
                  <a:pt x="75" y="0"/>
                  <a:pt x="48" y="0"/>
                </a:cubicBezTo>
                <a:close/>
                <a:moveTo>
                  <a:pt x="75" y="52"/>
                </a:moveTo>
                <a:cubicBezTo>
                  <a:pt x="53" y="76"/>
                  <a:pt x="53" y="76"/>
                  <a:pt x="53" y="76"/>
                </a:cubicBezTo>
                <a:cubicBezTo>
                  <a:pt x="52" y="77"/>
                  <a:pt x="50" y="77"/>
                  <a:pt x="48" y="77"/>
                </a:cubicBezTo>
                <a:cubicBezTo>
                  <a:pt x="47" y="77"/>
                  <a:pt x="45" y="77"/>
                  <a:pt x="44" y="76"/>
                </a:cubicBezTo>
                <a:cubicBezTo>
                  <a:pt x="43" y="75"/>
                  <a:pt x="43" y="75"/>
                  <a:pt x="43" y="75"/>
                </a:cubicBezTo>
                <a:cubicBezTo>
                  <a:pt x="41" y="72"/>
                  <a:pt x="41" y="68"/>
                  <a:pt x="43" y="66"/>
                </a:cubicBezTo>
                <a:cubicBezTo>
                  <a:pt x="52" y="56"/>
                  <a:pt x="52" y="56"/>
                  <a:pt x="52" y="56"/>
                </a:cubicBezTo>
                <a:cubicBezTo>
                  <a:pt x="22" y="56"/>
                  <a:pt x="22" y="56"/>
                  <a:pt x="22" y="56"/>
                </a:cubicBezTo>
                <a:cubicBezTo>
                  <a:pt x="19" y="56"/>
                  <a:pt x="16" y="53"/>
                  <a:pt x="16" y="50"/>
                </a:cubicBezTo>
                <a:cubicBezTo>
                  <a:pt x="16" y="46"/>
                  <a:pt x="16" y="46"/>
                  <a:pt x="16" y="46"/>
                </a:cubicBezTo>
                <a:cubicBezTo>
                  <a:pt x="16" y="43"/>
                  <a:pt x="19" y="40"/>
                  <a:pt x="22" y="40"/>
                </a:cubicBezTo>
                <a:cubicBezTo>
                  <a:pt x="52" y="40"/>
                  <a:pt x="52" y="40"/>
                  <a:pt x="52" y="40"/>
                </a:cubicBezTo>
                <a:cubicBezTo>
                  <a:pt x="42" y="30"/>
                  <a:pt x="42" y="30"/>
                  <a:pt x="42" y="30"/>
                </a:cubicBezTo>
                <a:cubicBezTo>
                  <a:pt x="40" y="28"/>
                  <a:pt x="40" y="24"/>
                  <a:pt x="43" y="22"/>
                </a:cubicBezTo>
                <a:cubicBezTo>
                  <a:pt x="44" y="20"/>
                  <a:pt x="44" y="20"/>
                  <a:pt x="44" y="20"/>
                </a:cubicBezTo>
                <a:cubicBezTo>
                  <a:pt x="46" y="18"/>
                  <a:pt x="50" y="18"/>
                  <a:pt x="52" y="20"/>
                </a:cubicBezTo>
                <a:cubicBezTo>
                  <a:pt x="75" y="44"/>
                  <a:pt x="75" y="44"/>
                  <a:pt x="75" y="44"/>
                </a:cubicBezTo>
                <a:cubicBezTo>
                  <a:pt x="77" y="46"/>
                  <a:pt x="77" y="50"/>
                  <a:pt x="75" y="5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54" name="Freeform 35">
            <a:extLst>
              <a:ext uri="{FF2B5EF4-FFF2-40B4-BE49-F238E27FC236}">
                <a16:creationId xmlns:a16="http://schemas.microsoft.com/office/drawing/2014/main" id="{E307D391-3528-4D9A-9EE0-BBB3B4B1C327}"/>
              </a:ext>
            </a:extLst>
          </p:cNvPr>
          <p:cNvSpPr>
            <a:spLocks noEditPoints="1"/>
          </p:cNvSpPr>
          <p:nvPr/>
        </p:nvSpPr>
        <p:spPr bwMode="auto">
          <a:xfrm>
            <a:off x="8051917" y="3957223"/>
            <a:ext cx="240795" cy="241855"/>
          </a:xfrm>
          <a:custGeom>
            <a:avLst/>
            <a:gdLst>
              <a:gd name="T0" fmla="*/ 48 w 96"/>
              <a:gd name="T1" fmla="*/ 0 h 96"/>
              <a:gd name="T2" fmla="*/ 0 w 96"/>
              <a:gd name="T3" fmla="*/ 48 h 96"/>
              <a:gd name="T4" fmla="*/ 48 w 96"/>
              <a:gd name="T5" fmla="*/ 96 h 96"/>
              <a:gd name="T6" fmla="*/ 96 w 96"/>
              <a:gd name="T7" fmla="*/ 48 h 96"/>
              <a:gd name="T8" fmla="*/ 48 w 96"/>
              <a:gd name="T9" fmla="*/ 0 h 96"/>
              <a:gd name="T10" fmla="*/ 75 w 96"/>
              <a:gd name="T11" fmla="*/ 52 h 96"/>
              <a:gd name="T12" fmla="*/ 53 w 96"/>
              <a:gd name="T13" fmla="*/ 76 h 96"/>
              <a:gd name="T14" fmla="*/ 48 w 96"/>
              <a:gd name="T15" fmla="*/ 77 h 96"/>
              <a:gd name="T16" fmla="*/ 44 w 96"/>
              <a:gd name="T17" fmla="*/ 76 h 96"/>
              <a:gd name="T18" fmla="*/ 43 w 96"/>
              <a:gd name="T19" fmla="*/ 75 h 96"/>
              <a:gd name="T20" fmla="*/ 43 w 96"/>
              <a:gd name="T21" fmla="*/ 66 h 96"/>
              <a:gd name="T22" fmla="*/ 52 w 96"/>
              <a:gd name="T23" fmla="*/ 56 h 96"/>
              <a:gd name="T24" fmla="*/ 22 w 96"/>
              <a:gd name="T25" fmla="*/ 56 h 96"/>
              <a:gd name="T26" fmla="*/ 16 w 96"/>
              <a:gd name="T27" fmla="*/ 50 h 96"/>
              <a:gd name="T28" fmla="*/ 16 w 96"/>
              <a:gd name="T29" fmla="*/ 46 h 96"/>
              <a:gd name="T30" fmla="*/ 22 w 96"/>
              <a:gd name="T31" fmla="*/ 40 h 96"/>
              <a:gd name="T32" fmla="*/ 52 w 96"/>
              <a:gd name="T33" fmla="*/ 40 h 96"/>
              <a:gd name="T34" fmla="*/ 42 w 96"/>
              <a:gd name="T35" fmla="*/ 30 h 96"/>
              <a:gd name="T36" fmla="*/ 43 w 96"/>
              <a:gd name="T37" fmla="*/ 22 h 96"/>
              <a:gd name="T38" fmla="*/ 44 w 96"/>
              <a:gd name="T39" fmla="*/ 20 h 96"/>
              <a:gd name="T40" fmla="*/ 52 w 96"/>
              <a:gd name="T41" fmla="*/ 20 h 96"/>
              <a:gd name="T42" fmla="*/ 75 w 96"/>
              <a:gd name="T43" fmla="*/ 44 h 96"/>
              <a:gd name="T44" fmla="*/ 75 w 96"/>
              <a:gd name="T45" fmla="*/ 52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96" h="96">
                <a:moveTo>
                  <a:pt x="48" y="0"/>
                </a:moveTo>
                <a:cubicBezTo>
                  <a:pt x="22" y="0"/>
                  <a:pt x="0" y="22"/>
                  <a:pt x="0" y="48"/>
                </a:cubicBezTo>
                <a:cubicBezTo>
                  <a:pt x="0" y="74"/>
                  <a:pt x="22" y="96"/>
                  <a:pt x="48" y="96"/>
                </a:cubicBezTo>
                <a:cubicBezTo>
                  <a:pt x="75" y="96"/>
                  <a:pt x="96" y="74"/>
                  <a:pt x="96" y="48"/>
                </a:cubicBezTo>
                <a:cubicBezTo>
                  <a:pt x="96" y="22"/>
                  <a:pt x="75" y="0"/>
                  <a:pt x="48" y="0"/>
                </a:cubicBezTo>
                <a:close/>
                <a:moveTo>
                  <a:pt x="75" y="52"/>
                </a:moveTo>
                <a:cubicBezTo>
                  <a:pt x="53" y="76"/>
                  <a:pt x="53" y="76"/>
                  <a:pt x="53" y="76"/>
                </a:cubicBezTo>
                <a:cubicBezTo>
                  <a:pt x="52" y="77"/>
                  <a:pt x="50" y="77"/>
                  <a:pt x="48" y="77"/>
                </a:cubicBezTo>
                <a:cubicBezTo>
                  <a:pt x="47" y="77"/>
                  <a:pt x="45" y="77"/>
                  <a:pt x="44" y="76"/>
                </a:cubicBezTo>
                <a:cubicBezTo>
                  <a:pt x="43" y="75"/>
                  <a:pt x="43" y="75"/>
                  <a:pt x="43" y="75"/>
                </a:cubicBezTo>
                <a:cubicBezTo>
                  <a:pt x="41" y="72"/>
                  <a:pt x="41" y="68"/>
                  <a:pt x="43" y="66"/>
                </a:cubicBezTo>
                <a:cubicBezTo>
                  <a:pt x="52" y="56"/>
                  <a:pt x="52" y="56"/>
                  <a:pt x="52" y="56"/>
                </a:cubicBezTo>
                <a:cubicBezTo>
                  <a:pt x="22" y="56"/>
                  <a:pt x="22" y="56"/>
                  <a:pt x="22" y="56"/>
                </a:cubicBezTo>
                <a:cubicBezTo>
                  <a:pt x="19" y="56"/>
                  <a:pt x="16" y="53"/>
                  <a:pt x="16" y="50"/>
                </a:cubicBezTo>
                <a:cubicBezTo>
                  <a:pt x="16" y="46"/>
                  <a:pt x="16" y="46"/>
                  <a:pt x="16" y="46"/>
                </a:cubicBezTo>
                <a:cubicBezTo>
                  <a:pt x="16" y="43"/>
                  <a:pt x="19" y="40"/>
                  <a:pt x="22" y="40"/>
                </a:cubicBezTo>
                <a:cubicBezTo>
                  <a:pt x="52" y="40"/>
                  <a:pt x="52" y="40"/>
                  <a:pt x="52" y="40"/>
                </a:cubicBezTo>
                <a:cubicBezTo>
                  <a:pt x="42" y="30"/>
                  <a:pt x="42" y="30"/>
                  <a:pt x="42" y="30"/>
                </a:cubicBezTo>
                <a:cubicBezTo>
                  <a:pt x="40" y="28"/>
                  <a:pt x="40" y="24"/>
                  <a:pt x="43" y="22"/>
                </a:cubicBezTo>
                <a:cubicBezTo>
                  <a:pt x="44" y="20"/>
                  <a:pt x="44" y="20"/>
                  <a:pt x="44" y="20"/>
                </a:cubicBezTo>
                <a:cubicBezTo>
                  <a:pt x="46" y="18"/>
                  <a:pt x="50" y="18"/>
                  <a:pt x="52" y="20"/>
                </a:cubicBezTo>
                <a:cubicBezTo>
                  <a:pt x="75" y="44"/>
                  <a:pt x="75" y="44"/>
                  <a:pt x="75" y="44"/>
                </a:cubicBezTo>
                <a:cubicBezTo>
                  <a:pt x="77" y="46"/>
                  <a:pt x="77" y="50"/>
                  <a:pt x="75" y="5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55" name="Freeform 35">
            <a:extLst>
              <a:ext uri="{FF2B5EF4-FFF2-40B4-BE49-F238E27FC236}">
                <a16:creationId xmlns:a16="http://schemas.microsoft.com/office/drawing/2014/main" id="{3531E830-63F0-49F8-A2CE-68FD2320C4CD}"/>
              </a:ext>
            </a:extLst>
          </p:cNvPr>
          <p:cNvSpPr>
            <a:spLocks noEditPoints="1"/>
          </p:cNvSpPr>
          <p:nvPr/>
        </p:nvSpPr>
        <p:spPr bwMode="auto">
          <a:xfrm>
            <a:off x="9591021" y="4752926"/>
            <a:ext cx="240795" cy="241855"/>
          </a:xfrm>
          <a:custGeom>
            <a:avLst/>
            <a:gdLst>
              <a:gd name="T0" fmla="*/ 48 w 96"/>
              <a:gd name="T1" fmla="*/ 0 h 96"/>
              <a:gd name="T2" fmla="*/ 0 w 96"/>
              <a:gd name="T3" fmla="*/ 48 h 96"/>
              <a:gd name="T4" fmla="*/ 48 w 96"/>
              <a:gd name="T5" fmla="*/ 96 h 96"/>
              <a:gd name="T6" fmla="*/ 96 w 96"/>
              <a:gd name="T7" fmla="*/ 48 h 96"/>
              <a:gd name="T8" fmla="*/ 48 w 96"/>
              <a:gd name="T9" fmla="*/ 0 h 96"/>
              <a:gd name="T10" fmla="*/ 75 w 96"/>
              <a:gd name="T11" fmla="*/ 52 h 96"/>
              <a:gd name="T12" fmla="*/ 53 w 96"/>
              <a:gd name="T13" fmla="*/ 76 h 96"/>
              <a:gd name="T14" fmla="*/ 48 w 96"/>
              <a:gd name="T15" fmla="*/ 77 h 96"/>
              <a:gd name="T16" fmla="*/ 44 w 96"/>
              <a:gd name="T17" fmla="*/ 76 h 96"/>
              <a:gd name="T18" fmla="*/ 43 w 96"/>
              <a:gd name="T19" fmla="*/ 75 h 96"/>
              <a:gd name="T20" fmla="*/ 43 w 96"/>
              <a:gd name="T21" fmla="*/ 66 h 96"/>
              <a:gd name="T22" fmla="*/ 52 w 96"/>
              <a:gd name="T23" fmla="*/ 56 h 96"/>
              <a:gd name="T24" fmla="*/ 22 w 96"/>
              <a:gd name="T25" fmla="*/ 56 h 96"/>
              <a:gd name="T26" fmla="*/ 16 w 96"/>
              <a:gd name="T27" fmla="*/ 50 h 96"/>
              <a:gd name="T28" fmla="*/ 16 w 96"/>
              <a:gd name="T29" fmla="*/ 46 h 96"/>
              <a:gd name="T30" fmla="*/ 22 w 96"/>
              <a:gd name="T31" fmla="*/ 40 h 96"/>
              <a:gd name="T32" fmla="*/ 52 w 96"/>
              <a:gd name="T33" fmla="*/ 40 h 96"/>
              <a:gd name="T34" fmla="*/ 42 w 96"/>
              <a:gd name="T35" fmla="*/ 30 h 96"/>
              <a:gd name="T36" fmla="*/ 43 w 96"/>
              <a:gd name="T37" fmla="*/ 22 h 96"/>
              <a:gd name="T38" fmla="*/ 44 w 96"/>
              <a:gd name="T39" fmla="*/ 20 h 96"/>
              <a:gd name="T40" fmla="*/ 52 w 96"/>
              <a:gd name="T41" fmla="*/ 20 h 96"/>
              <a:gd name="T42" fmla="*/ 75 w 96"/>
              <a:gd name="T43" fmla="*/ 44 h 96"/>
              <a:gd name="T44" fmla="*/ 75 w 96"/>
              <a:gd name="T45" fmla="*/ 52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96" h="96">
                <a:moveTo>
                  <a:pt x="48" y="0"/>
                </a:moveTo>
                <a:cubicBezTo>
                  <a:pt x="22" y="0"/>
                  <a:pt x="0" y="22"/>
                  <a:pt x="0" y="48"/>
                </a:cubicBezTo>
                <a:cubicBezTo>
                  <a:pt x="0" y="74"/>
                  <a:pt x="22" y="96"/>
                  <a:pt x="48" y="96"/>
                </a:cubicBezTo>
                <a:cubicBezTo>
                  <a:pt x="75" y="96"/>
                  <a:pt x="96" y="74"/>
                  <a:pt x="96" y="48"/>
                </a:cubicBezTo>
                <a:cubicBezTo>
                  <a:pt x="96" y="22"/>
                  <a:pt x="75" y="0"/>
                  <a:pt x="48" y="0"/>
                </a:cubicBezTo>
                <a:close/>
                <a:moveTo>
                  <a:pt x="75" y="52"/>
                </a:moveTo>
                <a:cubicBezTo>
                  <a:pt x="53" y="76"/>
                  <a:pt x="53" y="76"/>
                  <a:pt x="53" y="76"/>
                </a:cubicBezTo>
                <a:cubicBezTo>
                  <a:pt x="52" y="77"/>
                  <a:pt x="50" y="77"/>
                  <a:pt x="48" y="77"/>
                </a:cubicBezTo>
                <a:cubicBezTo>
                  <a:pt x="47" y="77"/>
                  <a:pt x="45" y="77"/>
                  <a:pt x="44" y="76"/>
                </a:cubicBezTo>
                <a:cubicBezTo>
                  <a:pt x="43" y="75"/>
                  <a:pt x="43" y="75"/>
                  <a:pt x="43" y="75"/>
                </a:cubicBezTo>
                <a:cubicBezTo>
                  <a:pt x="41" y="72"/>
                  <a:pt x="41" y="68"/>
                  <a:pt x="43" y="66"/>
                </a:cubicBezTo>
                <a:cubicBezTo>
                  <a:pt x="52" y="56"/>
                  <a:pt x="52" y="56"/>
                  <a:pt x="52" y="56"/>
                </a:cubicBezTo>
                <a:cubicBezTo>
                  <a:pt x="22" y="56"/>
                  <a:pt x="22" y="56"/>
                  <a:pt x="22" y="56"/>
                </a:cubicBezTo>
                <a:cubicBezTo>
                  <a:pt x="19" y="56"/>
                  <a:pt x="16" y="53"/>
                  <a:pt x="16" y="50"/>
                </a:cubicBezTo>
                <a:cubicBezTo>
                  <a:pt x="16" y="46"/>
                  <a:pt x="16" y="46"/>
                  <a:pt x="16" y="46"/>
                </a:cubicBezTo>
                <a:cubicBezTo>
                  <a:pt x="16" y="43"/>
                  <a:pt x="19" y="40"/>
                  <a:pt x="22" y="40"/>
                </a:cubicBezTo>
                <a:cubicBezTo>
                  <a:pt x="52" y="40"/>
                  <a:pt x="52" y="40"/>
                  <a:pt x="52" y="40"/>
                </a:cubicBezTo>
                <a:cubicBezTo>
                  <a:pt x="42" y="30"/>
                  <a:pt x="42" y="30"/>
                  <a:pt x="42" y="30"/>
                </a:cubicBezTo>
                <a:cubicBezTo>
                  <a:pt x="40" y="28"/>
                  <a:pt x="40" y="24"/>
                  <a:pt x="43" y="22"/>
                </a:cubicBezTo>
                <a:cubicBezTo>
                  <a:pt x="44" y="20"/>
                  <a:pt x="44" y="20"/>
                  <a:pt x="44" y="20"/>
                </a:cubicBezTo>
                <a:cubicBezTo>
                  <a:pt x="46" y="18"/>
                  <a:pt x="50" y="18"/>
                  <a:pt x="52" y="20"/>
                </a:cubicBezTo>
                <a:cubicBezTo>
                  <a:pt x="75" y="44"/>
                  <a:pt x="75" y="44"/>
                  <a:pt x="75" y="44"/>
                </a:cubicBezTo>
                <a:cubicBezTo>
                  <a:pt x="77" y="46"/>
                  <a:pt x="77" y="50"/>
                  <a:pt x="75" y="5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56" name="Freeform 35">
            <a:extLst>
              <a:ext uri="{FF2B5EF4-FFF2-40B4-BE49-F238E27FC236}">
                <a16:creationId xmlns:a16="http://schemas.microsoft.com/office/drawing/2014/main" id="{AE23EA1B-216C-45C1-A94B-16C1561EEA0B}"/>
              </a:ext>
            </a:extLst>
          </p:cNvPr>
          <p:cNvSpPr>
            <a:spLocks noEditPoints="1"/>
          </p:cNvSpPr>
          <p:nvPr/>
        </p:nvSpPr>
        <p:spPr bwMode="auto">
          <a:xfrm>
            <a:off x="11112753" y="5543954"/>
            <a:ext cx="240795" cy="241855"/>
          </a:xfrm>
          <a:custGeom>
            <a:avLst/>
            <a:gdLst>
              <a:gd name="T0" fmla="*/ 48 w 96"/>
              <a:gd name="T1" fmla="*/ 0 h 96"/>
              <a:gd name="T2" fmla="*/ 0 w 96"/>
              <a:gd name="T3" fmla="*/ 48 h 96"/>
              <a:gd name="T4" fmla="*/ 48 w 96"/>
              <a:gd name="T5" fmla="*/ 96 h 96"/>
              <a:gd name="T6" fmla="*/ 96 w 96"/>
              <a:gd name="T7" fmla="*/ 48 h 96"/>
              <a:gd name="T8" fmla="*/ 48 w 96"/>
              <a:gd name="T9" fmla="*/ 0 h 96"/>
              <a:gd name="T10" fmla="*/ 75 w 96"/>
              <a:gd name="T11" fmla="*/ 52 h 96"/>
              <a:gd name="T12" fmla="*/ 53 w 96"/>
              <a:gd name="T13" fmla="*/ 76 h 96"/>
              <a:gd name="T14" fmla="*/ 48 w 96"/>
              <a:gd name="T15" fmla="*/ 77 h 96"/>
              <a:gd name="T16" fmla="*/ 44 w 96"/>
              <a:gd name="T17" fmla="*/ 76 h 96"/>
              <a:gd name="T18" fmla="*/ 43 w 96"/>
              <a:gd name="T19" fmla="*/ 75 h 96"/>
              <a:gd name="T20" fmla="*/ 43 w 96"/>
              <a:gd name="T21" fmla="*/ 66 h 96"/>
              <a:gd name="T22" fmla="*/ 52 w 96"/>
              <a:gd name="T23" fmla="*/ 56 h 96"/>
              <a:gd name="T24" fmla="*/ 22 w 96"/>
              <a:gd name="T25" fmla="*/ 56 h 96"/>
              <a:gd name="T26" fmla="*/ 16 w 96"/>
              <a:gd name="T27" fmla="*/ 50 h 96"/>
              <a:gd name="T28" fmla="*/ 16 w 96"/>
              <a:gd name="T29" fmla="*/ 46 h 96"/>
              <a:gd name="T30" fmla="*/ 22 w 96"/>
              <a:gd name="T31" fmla="*/ 40 h 96"/>
              <a:gd name="T32" fmla="*/ 52 w 96"/>
              <a:gd name="T33" fmla="*/ 40 h 96"/>
              <a:gd name="T34" fmla="*/ 42 w 96"/>
              <a:gd name="T35" fmla="*/ 30 h 96"/>
              <a:gd name="T36" fmla="*/ 43 w 96"/>
              <a:gd name="T37" fmla="*/ 22 h 96"/>
              <a:gd name="T38" fmla="*/ 44 w 96"/>
              <a:gd name="T39" fmla="*/ 20 h 96"/>
              <a:gd name="T40" fmla="*/ 52 w 96"/>
              <a:gd name="T41" fmla="*/ 20 h 96"/>
              <a:gd name="T42" fmla="*/ 75 w 96"/>
              <a:gd name="T43" fmla="*/ 44 h 96"/>
              <a:gd name="T44" fmla="*/ 75 w 96"/>
              <a:gd name="T45" fmla="*/ 52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96" h="96">
                <a:moveTo>
                  <a:pt x="48" y="0"/>
                </a:moveTo>
                <a:cubicBezTo>
                  <a:pt x="22" y="0"/>
                  <a:pt x="0" y="22"/>
                  <a:pt x="0" y="48"/>
                </a:cubicBezTo>
                <a:cubicBezTo>
                  <a:pt x="0" y="74"/>
                  <a:pt x="22" y="96"/>
                  <a:pt x="48" y="96"/>
                </a:cubicBezTo>
                <a:cubicBezTo>
                  <a:pt x="75" y="96"/>
                  <a:pt x="96" y="74"/>
                  <a:pt x="96" y="48"/>
                </a:cubicBezTo>
                <a:cubicBezTo>
                  <a:pt x="96" y="22"/>
                  <a:pt x="75" y="0"/>
                  <a:pt x="48" y="0"/>
                </a:cubicBezTo>
                <a:close/>
                <a:moveTo>
                  <a:pt x="75" y="52"/>
                </a:moveTo>
                <a:cubicBezTo>
                  <a:pt x="53" y="76"/>
                  <a:pt x="53" y="76"/>
                  <a:pt x="53" y="76"/>
                </a:cubicBezTo>
                <a:cubicBezTo>
                  <a:pt x="52" y="77"/>
                  <a:pt x="50" y="77"/>
                  <a:pt x="48" y="77"/>
                </a:cubicBezTo>
                <a:cubicBezTo>
                  <a:pt x="47" y="77"/>
                  <a:pt x="45" y="77"/>
                  <a:pt x="44" y="76"/>
                </a:cubicBezTo>
                <a:cubicBezTo>
                  <a:pt x="43" y="75"/>
                  <a:pt x="43" y="75"/>
                  <a:pt x="43" y="75"/>
                </a:cubicBezTo>
                <a:cubicBezTo>
                  <a:pt x="41" y="72"/>
                  <a:pt x="41" y="68"/>
                  <a:pt x="43" y="66"/>
                </a:cubicBezTo>
                <a:cubicBezTo>
                  <a:pt x="52" y="56"/>
                  <a:pt x="52" y="56"/>
                  <a:pt x="52" y="56"/>
                </a:cubicBezTo>
                <a:cubicBezTo>
                  <a:pt x="22" y="56"/>
                  <a:pt x="22" y="56"/>
                  <a:pt x="22" y="56"/>
                </a:cubicBezTo>
                <a:cubicBezTo>
                  <a:pt x="19" y="56"/>
                  <a:pt x="16" y="53"/>
                  <a:pt x="16" y="50"/>
                </a:cubicBezTo>
                <a:cubicBezTo>
                  <a:pt x="16" y="46"/>
                  <a:pt x="16" y="46"/>
                  <a:pt x="16" y="46"/>
                </a:cubicBezTo>
                <a:cubicBezTo>
                  <a:pt x="16" y="43"/>
                  <a:pt x="19" y="40"/>
                  <a:pt x="22" y="40"/>
                </a:cubicBezTo>
                <a:cubicBezTo>
                  <a:pt x="52" y="40"/>
                  <a:pt x="52" y="40"/>
                  <a:pt x="52" y="40"/>
                </a:cubicBezTo>
                <a:cubicBezTo>
                  <a:pt x="42" y="30"/>
                  <a:pt x="42" y="30"/>
                  <a:pt x="42" y="30"/>
                </a:cubicBezTo>
                <a:cubicBezTo>
                  <a:pt x="40" y="28"/>
                  <a:pt x="40" y="24"/>
                  <a:pt x="43" y="22"/>
                </a:cubicBezTo>
                <a:cubicBezTo>
                  <a:pt x="44" y="20"/>
                  <a:pt x="44" y="20"/>
                  <a:pt x="44" y="20"/>
                </a:cubicBezTo>
                <a:cubicBezTo>
                  <a:pt x="46" y="18"/>
                  <a:pt x="50" y="18"/>
                  <a:pt x="52" y="20"/>
                </a:cubicBezTo>
                <a:cubicBezTo>
                  <a:pt x="75" y="44"/>
                  <a:pt x="75" y="44"/>
                  <a:pt x="75" y="44"/>
                </a:cubicBezTo>
                <a:cubicBezTo>
                  <a:pt x="77" y="46"/>
                  <a:pt x="77" y="50"/>
                  <a:pt x="75" y="5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grpSp>
        <p:nvGrpSpPr>
          <p:cNvPr id="58" name="Group 57">
            <a:extLst>
              <a:ext uri="{FF2B5EF4-FFF2-40B4-BE49-F238E27FC236}">
                <a16:creationId xmlns:a16="http://schemas.microsoft.com/office/drawing/2014/main" id="{B49265A9-F20E-4535-9B2E-57B15AC12D1A}"/>
              </a:ext>
            </a:extLst>
          </p:cNvPr>
          <p:cNvGrpSpPr/>
          <p:nvPr/>
        </p:nvGrpSpPr>
        <p:grpSpPr>
          <a:xfrm>
            <a:off x="2335893" y="2896281"/>
            <a:ext cx="9291863" cy="2373087"/>
            <a:chOff x="-271463" y="2896281"/>
            <a:chExt cx="13044034" cy="2373087"/>
          </a:xfrm>
        </p:grpSpPr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818C6147-55AA-4C31-8957-720F7B077B62}"/>
                </a:ext>
              </a:extLst>
            </p:cNvPr>
            <p:cNvCxnSpPr>
              <a:cxnSpLocks/>
            </p:cNvCxnSpPr>
            <p:nvPr/>
          </p:nvCxnSpPr>
          <p:spPr>
            <a:xfrm>
              <a:off x="-271463" y="2896281"/>
              <a:ext cx="13044034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Connector 59">
              <a:extLst>
                <a:ext uri="{FF2B5EF4-FFF2-40B4-BE49-F238E27FC236}">
                  <a16:creationId xmlns:a16="http://schemas.microsoft.com/office/drawing/2014/main" id="{4F2BAE0E-2921-4506-8161-95464CCC7C8F}"/>
                </a:ext>
              </a:extLst>
            </p:cNvPr>
            <p:cNvCxnSpPr>
              <a:cxnSpLocks/>
            </p:cNvCxnSpPr>
            <p:nvPr/>
          </p:nvCxnSpPr>
          <p:spPr>
            <a:xfrm>
              <a:off x="-271463" y="3687310"/>
              <a:ext cx="13044034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617B00AD-91AA-4371-ACA8-3EF414FE694C}"/>
                </a:ext>
              </a:extLst>
            </p:cNvPr>
            <p:cNvCxnSpPr>
              <a:cxnSpLocks/>
            </p:cNvCxnSpPr>
            <p:nvPr/>
          </p:nvCxnSpPr>
          <p:spPr>
            <a:xfrm>
              <a:off x="-271463" y="4478339"/>
              <a:ext cx="13044034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78041B2D-0217-4C61-B93C-2A01A1249699}"/>
                </a:ext>
              </a:extLst>
            </p:cNvPr>
            <p:cNvCxnSpPr>
              <a:cxnSpLocks/>
            </p:cNvCxnSpPr>
            <p:nvPr/>
          </p:nvCxnSpPr>
          <p:spPr>
            <a:xfrm>
              <a:off x="-271463" y="5269368"/>
              <a:ext cx="13044034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415772827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0B3BB50-B18B-4C50-8741-B6C6D83E9F0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775462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9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12F4B06E-B462-4F87-90FA-F1DFAA173577}"/>
              </a:ext>
            </a:extLst>
          </p:cNvPr>
          <p:cNvSpPr/>
          <p:nvPr/>
        </p:nvSpPr>
        <p:spPr>
          <a:xfrm rot="16200000">
            <a:off x="530266" y="1860323"/>
            <a:ext cx="752475" cy="537029"/>
          </a:xfrm>
          <a:prstGeom prst="roundRect">
            <a:avLst>
              <a:gd name="adj" fmla="val 12162"/>
            </a:avLst>
          </a:prstGeom>
          <a:gradFill flip="none" rotWithShape="1">
            <a:gsLst>
              <a:gs pos="0">
                <a:srgbClr val="295E7B">
                  <a:lumMod val="98000"/>
                </a:srgbClr>
              </a:gs>
              <a:gs pos="100000">
                <a:srgbClr val="3B87B1"/>
              </a:gs>
            </a:gsLst>
            <a:lin ang="13500000" scaled="1"/>
            <a:tileRect/>
          </a:gra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400" b="1" i="1" dirty="0">
                <a:latin typeface="Segoe UI Light" panose="020B0502040204020203" pitchFamily="34" charset="0"/>
                <a:cs typeface="Segoe UI Light" panose="020B0502040204020203" pitchFamily="34" charset="0"/>
              </a:rPr>
              <a:t>Lorem</a:t>
            </a:r>
            <a:endParaRPr lang="en-US" sz="1400" b="1" i="1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7850F298-BEA9-4F33-9806-0D4F0A6CD583}"/>
              </a:ext>
            </a:extLst>
          </p:cNvPr>
          <p:cNvSpPr/>
          <p:nvPr/>
        </p:nvSpPr>
        <p:spPr>
          <a:xfrm rot="16200000">
            <a:off x="530266" y="2572702"/>
            <a:ext cx="752475" cy="537029"/>
          </a:xfrm>
          <a:prstGeom prst="roundRect">
            <a:avLst>
              <a:gd name="adj" fmla="val 12162"/>
            </a:avLst>
          </a:prstGeom>
          <a:gradFill flip="none" rotWithShape="1">
            <a:gsLst>
              <a:gs pos="0">
                <a:srgbClr val="295E7B">
                  <a:lumMod val="98000"/>
                </a:srgbClr>
              </a:gs>
              <a:gs pos="100000">
                <a:srgbClr val="3B87B1"/>
              </a:gs>
            </a:gsLst>
            <a:lin ang="13500000" scaled="1"/>
            <a:tileRect/>
          </a:gra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400" b="1" i="1" dirty="0">
                <a:latin typeface="Segoe UI Light" panose="020B0502040204020203" pitchFamily="34" charset="0"/>
                <a:cs typeface="Segoe UI Light" panose="020B0502040204020203" pitchFamily="34" charset="0"/>
              </a:rPr>
              <a:t>Lorem</a:t>
            </a:r>
            <a:endParaRPr lang="en-US" sz="1400" b="1" i="1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39" name="Rectangle: Rounded Corners 38">
            <a:extLst>
              <a:ext uri="{FF2B5EF4-FFF2-40B4-BE49-F238E27FC236}">
                <a16:creationId xmlns:a16="http://schemas.microsoft.com/office/drawing/2014/main" id="{04F637B5-3B20-4880-9000-62A3086D7253}"/>
              </a:ext>
            </a:extLst>
          </p:cNvPr>
          <p:cNvSpPr/>
          <p:nvPr/>
        </p:nvSpPr>
        <p:spPr>
          <a:xfrm rot="16200000">
            <a:off x="530266" y="3285081"/>
            <a:ext cx="752475" cy="537029"/>
          </a:xfrm>
          <a:prstGeom prst="roundRect">
            <a:avLst>
              <a:gd name="adj" fmla="val 12162"/>
            </a:avLst>
          </a:prstGeom>
          <a:gradFill flip="none" rotWithShape="1">
            <a:gsLst>
              <a:gs pos="0">
                <a:srgbClr val="295E7B">
                  <a:lumMod val="98000"/>
                </a:srgbClr>
              </a:gs>
              <a:gs pos="100000">
                <a:srgbClr val="3B87B1"/>
              </a:gs>
            </a:gsLst>
            <a:lin ang="13500000" scaled="1"/>
            <a:tileRect/>
          </a:gra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400" b="1" i="1" dirty="0">
                <a:latin typeface="Segoe UI Light" panose="020B0502040204020203" pitchFamily="34" charset="0"/>
                <a:cs typeface="Segoe UI Light" panose="020B0502040204020203" pitchFamily="34" charset="0"/>
              </a:rPr>
              <a:t>Lorem</a:t>
            </a:r>
            <a:endParaRPr lang="en-US" sz="1400" b="1" i="1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40" name="Rectangle: Rounded Corners 39">
            <a:extLst>
              <a:ext uri="{FF2B5EF4-FFF2-40B4-BE49-F238E27FC236}">
                <a16:creationId xmlns:a16="http://schemas.microsoft.com/office/drawing/2014/main" id="{F05A9030-8E8F-4E26-8941-EE7F90FCF899}"/>
              </a:ext>
            </a:extLst>
          </p:cNvPr>
          <p:cNvSpPr/>
          <p:nvPr/>
        </p:nvSpPr>
        <p:spPr>
          <a:xfrm rot="16200000">
            <a:off x="530266" y="3997460"/>
            <a:ext cx="752475" cy="537029"/>
          </a:xfrm>
          <a:prstGeom prst="roundRect">
            <a:avLst>
              <a:gd name="adj" fmla="val 12162"/>
            </a:avLst>
          </a:prstGeom>
          <a:gradFill flip="none" rotWithShape="1">
            <a:gsLst>
              <a:gs pos="0">
                <a:srgbClr val="295E7B">
                  <a:lumMod val="98000"/>
                </a:srgbClr>
              </a:gs>
              <a:gs pos="100000">
                <a:srgbClr val="3B87B1"/>
              </a:gs>
            </a:gsLst>
            <a:lin ang="13500000" scaled="1"/>
            <a:tileRect/>
          </a:gra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400" b="1" i="1" dirty="0">
                <a:latin typeface="Segoe UI Light" panose="020B0502040204020203" pitchFamily="34" charset="0"/>
                <a:cs typeface="Segoe UI Light" panose="020B0502040204020203" pitchFamily="34" charset="0"/>
              </a:rPr>
              <a:t>Lorem</a:t>
            </a:r>
            <a:endParaRPr lang="en-US" sz="1400" b="1" i="1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41" name="Rectangle: Rounded Corners 40">
            <a:extLst>
              <a:ext uri="{FF2B5EF4-FFF2-40B4-BE49-F238E27FC236}">
                <a16:creationId xmlns:a16="http://schemas.microsoft.com/office/drawing/2014/main" id="{16D2FA34-9B59-44C5-89CD-3EBD2EBF4B87}"/>
              </a:ext>
            </a:extLst>
          </p:cNvPr>
          <p:cNvSpPr/>
          <p:nvPr/>
        </p:nvSpPr>
        <p:spPr>
          <a:xfrm rot="16200000">
            <a:off x="530266" y="4709839"/>
            <a:ext cx="752475" cy="537029"/>
          </a:xfrm>
          <a:prstGeom prst="roundRect">
            <a:avLst>
              <a:gd name="adj" fmla="val 12162"/>
            </a:avLst>
          </a:prstGeom>
          <a:gradFill flip="none" rotWithShape="1">
            <a:gsLst>
              <a:gs pos="0">
                <a:srgbClr val="295E7B">
                  <a:lumMod val="98000"/>
                </a:srgbClr>
              </a:gs>
              <a:gs pos="100000">
                <a:srgbClr val="3B87B1"/>
              </a:gs>
            </a:gsLst>
            <a:lin ang="13500000" scaled="1"/>
            <a:tileRect/>
          </a:gra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400" b="1" i="1" dirty="0">
                <a:latin typeface="Segoe UI Light" panose="020B0502040204020203" pitchFamily="34" charset="0"/>
                <a:cs typeface="Segoe UI Light" panose="020B0502040204020203" pitchFamily="34" charset="0"/>
              </a:rPr>
              <a:t>Lorem</a:t>
            </a:r>
            <a:endParaRPr lang="en-US" sz="1400" b="1" i="1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42" name="Rectangle: Rounded Corners 41">
            <a:extLst>
              <a:ext uri="{FF2B5EF4-FFF2-40B4-BE49-F238E27FC236}">
                <a16:creationId xmlns:a16="http://schemas.microsoft.com/office/drawing/2014/main" id="{4749BFBF-99E0-4B3B-82E6-EBB955F2CC75}"/>
              </a:ext>
            </a:extLst>
          </p:cNvPr>
          <p:cNvSpPr/>
          <p:nvPr/>
        </p:nvSpPr>
        <p:spPr>
          <a:xfrm rot="16200000">
            <a:off x="530266" y="5422219"/>
            <a:ext cx="752475" cy="537029"/>
          </a:xfrm>
          <a:prstGeom prst="roundRect">
            <a:avLst>
              <a:gd name="adj" fmla="val 12162"/>
            </a:avLst>
          </a:prstGeom>
          <a:gradFill flip="none" rotWithShape="1">
            <a:gsLst>
              <a:gs pos="0">
                <a:srgbClr val="295E7B">
                  <a:lumMod val="98000"/>
                </a:srgbClr>
              </a:gs>
              <a:gs pos="100000">
                <a:srgbClr val="3B87B1"/>
              </a:gs>
            </a:gsLst>
            <a:lin ang="13500000" scaled="1"/>
            <a:tileRect/>
          </a:gra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400" b="1" i="1" dirty="0">
                <a:latin typeface="Segoe UI Light" panose="020B0502040204020203" pitchFamily="34" charset="0"/>
                <a:cs typeface="Segoe UI Light" panose="020B0502040204020203" pitchFamily="34" charset="0"/>
              </a:rPr>
              <a:t>Lorem</a:t>
            </a:r>
            <a:endParaRPr lang="en-US" sz="1400" b="1" i="1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pic>
        <p:nvPicPr>
          <p:cNvPr id="45" name="Picture 44" descr="A group of people sitting at a table in a room&#10;&#10;Description automatically generated with medium confidence">
            <a:extLst>
              <a:ext uri="{FF2B5EF4-FFF2-40B4-BE49-F238E27FC236}">
                <a16:creationId xmlns:a16="http://schemas.microsoft.com/office/drawing/2014/main" id="{BBE0DEA9-D73F-43E2-B0B5-B8EE060F894C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t="37822" r="684" b="2372"/>
          <a:stretch/>
        </p:blipFill>
        <p:spPr>
          <a:xfrm>
            <a:off x="1128486" y="1651000"/>
            <a:ext cx="11063514" cy="4415971"/>
          </a:xfrm>
          <a:prstGeom prst="rect">
            <a:avLst/>
          </a:prstGeom>
        </p:spPr>
      </p:pic>
      <p:sp>
        <p:nvSpPr>
          <p:cNvPr id="37" name="Rectangle 36">
            <a:extLst>
              <a:ext uri="{FF2B5EF4-FFF2-40B4-BE49-F238E27FC236}">
                <a16:creationId xmlns:a16="http://schemas.microsoft.com/office/drawing/2014/main" id="{F803C172-B32E-4D20-A6A6-62BBF5DFD4A3}"/>
              </a:ext>
            </a:extLst>
          </p:cNvPr>
          <p:cNvSpPr/>
          <p:nvPr/>
        </p:nvSpPr>
        <p:spPr>
          <a:xfrm>
            <a:off x="1128486" y="1651000"/>
            <a:ext cx="11063514" cy="4415971"/>
          </a:xfrm>
          <a:prstGeom prst="rect">
            <a:avLst/>
          </a:prstGeom>
          <a:solidFill>
            <a:schemeClr val="tx1"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6" name="Rectangle: Rounded Corners 35">
            <a:extLst>
              <a:ext uri="{FF2B5EF4-FFF2-40B4-BE49-F238E27FC236}">
                <a16:creationId xmlns:a16="http://schemas.microsoft.com/office/drawing/2014/main" id="{55D44B5F-B528-4B99-A57F-7AD1ACDCF52D}"/>
              </a:ext>
            </a:extLst>
          </p:cNvPr>
          <p:cNvSpPr/>
          <p:nvPr/>
        </p:nvSpPr>
        <p:spPr>
          <a:xfrm>
            <a:off x="1535790" y="1320799"/>
            <a:ext cx="10115549" cy="431799"/>
          </a:xfrm>
          <a:prstGeom prst="roundRect">
            <a:avLst>
              <a:gd name="adj" fmla="val 50000"/>
            </a:avLst>
          </a:prstGeom>
          <a:solidFill>
            <a:srgbClr val="DE4D1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b="1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6209749-75A0-4A93-8D69-1141909502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en-US" sz="3600" dirty="0"/>
              <a:t>Multiple project timeline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158E41F-CE92-4971-ACA8-0671602E2D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13A2AF-9881-47E7-AE38-D70ECBD2298B}" type="slidenum">
              <a:rPr lang="en-US" smtClean="0"/>
              <a:t>6</a:t>
            </a:fld>
            <a:endParaRPr lang="en-US"/>
          </a:p>
        </p:txBody>
      </p:sp>
      <p:grpSp>
        <p:nvGrpSpPr>
          <p:cNvPr id="52" name="Group 51">
            <a:extLst>
              <a:ext uri="{FF2B5EF4-FFF2-40B4-BE49-F238E27FC236}">
                <a16:creationId xmlns:a16="http://schemas.microsoft.com/office/drawing/2014/main" id="{9455290B-90D0-461C-B8F1-AFCFACEFA572}"/>
              </a:ext>
            </a:extLst>
          </p:cNvPr>
          <p:cNvGrpSpPr/>
          <p:nvPr/>
        </p:nvGrpSpPr>
        <p:grpSpPr>
          <a:xfrm>
            <a:off x="2377773" y="1381471"/>
            <a:ext cx="8419800" cy="310455"/>
            <a:chOff x="2377773" y="-457200"/>
            <a:chExt cx="8419800" cy="7848600"/>
          </a:xfrm>
        </p:grpSpPr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D2E1C219-ED66-4A36-9F08-FD5A040A9446}"/>
                </a:ext>
              </a:extLst>
            </p:cNvPr>
            <p:cNvCxnSpPr/>
            <p:nvPr/>
          </p:nvCxnSpPr>
          <p:spPr>
            <a:xfrm>
              <a:off x="2377773" y="-457200"/>
              <a:ext cx="0" cy="784860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BA2329CC-6D11-47C3-8573-4897FC5E7286}"/>
                </a:ext>
              </a:extLst>
            </p:cNvPr>
            <p:cNvCxnSpPr/>
            <p:nvPr/>
          </p:nvCxnSpPr>
          <p:spPr>
            <a:xfrm>
              <a:off x="3219753" y="-457200"/>
              <a:ext cx="0" cy="784860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B053E3A6-B23B-4471-B431-D4FD5AA465C0}"/>
                </a:ext>
              </a:extLst>
            </p:cNvPr>
            <p:cNvCxnSpPr/>
            <p:nvPr/>
          </p:nvCxnSpPr>
          <p:spPr>
            <a:xfrm>
              <a:off x="4061733" y="-457200"/>
              <a:ext cx="0" cy="784860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6CA31B52-91CE-4EEE-82CB-A9B2C6ED917D}"/>
                </a:ext>
              </a:extLst>
            </p:cNvPr>
            <p:cNvCxnSpPr/>
            <p:nvPr/>
          </p:nvCxnSpPr>
          <p:spPr>
            <a:xfrm>
              <a:off x="4903713" y="-457200"/>
              <a:ext cx="0" cy="784860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929934D8-EAEE-4C30-A37F-501B193278EE}"/>
                </a:ext>
              </a:extLst>
            </p:cNvPr>
            <p:cNvCxnSpPr/>
            <p:nvPr/>
          </p:nvCxnSpPr>
          <p:spPr>
            <a:xfrm>
              <a:off x="5745693" y="-457200"/>
              <a:ext cx="0" cy="784860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FF8CB86F-BF59-434E-9203-FBCC860A96BB}"/>
                </a:ext>
              </a:extLst>
            </p:cNvPr>
            <p:cNvCxnSpPr/>
            <p:nvPr/>
          </p:nvCxnSpPr>
          <p:spPr>
            <a:xfrm>
              <a:off x="6587673" y="-457200"/>
              <a:ext cx="0" cy="784860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70ABAD1F-CA65-40CD-9277-237369978D37}"/>
                </a:ext>
              </a:extLst>
            </p:cNvPr>
            <p:cNvCxnSpPr/>
            <p:nvPr/>
          </p:nvCxnSpPr>
          <p:spPr>
            <a:xfrm>
              <a:off x="7429653" y="-457200"/>
              <a:ext cx="0" cy="784860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66D80450-147D-4760-813F-5EF4B514467E}"/>
                </a:ext>
              </a:extLst>
            </p:cNvPr>
            <p:cNvCxnSpPr/>
            <p:nvPr/>
          </p:nvCxnSpPr>
          <p:spPr>
            <a:xfrm>
              <a:off x="8271633" y="-457200"/>
              <a:ext cx="0" cy="784860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873826D2-340E-47D7-86F6-0EC162F52575}"/>
                </a:ext>
              </a:extLst>
            </p:cNvPr>
            <p:cNvCxnSpPr/>
            <p:nvPr/>
          </p:nvCxnSpPr>
          <p:spPr>
            <a:xfrm>
              <a:off x="9113613" y="-457200"/>
              <a:ext cx="0" cy="784860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5653893D-10F9-463B-988C-40498F0D01F2}"/>
                </a:ext>
              </a:extLst>
            </p:cNvPr>
            <p:cNvCxnSpPr/>
            <p:nvPr/>
          </p:nvCxnSpPr>
          <p:spPr>
            <a:xfrm>
              <a:off x="9955593" y="-457200"/>
              <a:ext cx="0" cy="784860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F8008638-7569-4DAE-B626-4D61DD64D26F}"/>
                </a:ext>
              </a:extLst>
            </p:cNvPr>
            <p:cNvCxnSpPr/>
            <p:nvPr/>
          </p:nvCxnSpPr>
          <p:spPr>
            <a:xfrm>
              <a:off x="10797573" y="-457200"/>
              <a:ext cx="0" cy="784860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C11D2C3F-D56A-4827-A75D-FAEC4E3812ED}"/>
              </a:ext>
            </a:extLst>
          </p:cNvPr>
          <p:cNvSpPr/>
          <p:nvPr/>
        </p:nvSpPr>
        <p:spPr>
          <a:xfrm>
            <a:off x="1535792" y="1425908"/>
            <a:ext cx="830188" cy="221582"/>
          </a:xfrm>
          <a:prstGeom prst="roundRect">
            <a:avLst>
              <a:gd name="adj" fmla="val 5000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400" b="1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Jan</a:t>
            </a:r>
            <a:endParaRPr lang="en-US" sz="1400" b="1" dirty="0">
              <a:solidFill>
                <a:schemeClr val="bg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24" name="Rectangle: Rounded Corners 23">
            <a:extLst>
              <a:ext uri="{FF2B5EF4-FFF2-40B4-BE49-F238E27FC236}">
                <a16:creationId xmlns:a16="http://schemas.microsoft.com/office/drawing/2014/main" id="{D2C07E19-2D23-4381-B8F5-692F67DAB9C3}"/>
              </a:ext>
            </a:extLst>
          </p:cNvPr>
          <p:cNvSpPr/>
          <p:nvPr/>
        </p:nvSpPr>
        <p:spPr>
          <a:xfrm>
            <a:off x="2378957" y="1425908"/>
            <a:ext cx="830188" cy="221582"/>
          </a:xfrm>
          <a:prstGeom prst="roundRect">
            <a:avLst>
              <a:gd name="adj" fmla="val 5000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400" b="1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Feb</a:t>
            </a:r>
            <a:endParaRPr lang="en-US" sz="1400" b="1" dirty="0">
              <a:solidFill>
                <a:schemeClr val="bg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26" name="Rectangle: Rounded Corners 25">
            <a:extLst>
              <a:ext uri="{FF2B5EF4-FFF2-40B4-BE49-F238E27FC236}">
                <a16:creationId xmlns:a16="http://schemas.microsoft.com/office/drawing/2014/main" id="{C8BC7775-4FC2-48BE-9FD4-A77B60FBD639}"/>
              </a:ext>
            </a:extLst>
          </p:cNvPr>
          <p:cNvSpPr/>
          <p:nvPr/>
        </p:nvSpPr>
        <p:spPr>
          <a:xfrm>
            <a:off x="3222122" y="1425908"/>
            <a:ext cx="830188" cy="221582"/>
          </a:xfrm>
          <a:prstGeom prst="roundRect">
            <a:avLst>
              <a:gd name="adj" fmla="val 5000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400" b="1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Mar</a:t>
            </a:r>
            <a:endParaRPr lang="en-US" sz="1400" b="1" dirty="0">
              <a:solidFill>
                <a:schemeClr val="bg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27" name="Rectangle: Rounded Corners 26">
            <a:extLst>
              <a:ext uri="{FF2B5EF4-FFF2-40B4-BE49-F238E27FC236}">
                <a16:creationId xmlns:a16="http://schemas.microsoft.com/office/drawing/2014/main" id="{3C801636-96A4-4735-A626-C9F5CA052278}"/>
              </a:ext>
            </a:extLst>
          </p:cNvPr>
          <p:cNvSpPr/>
          <p:nvPr/>
        </p:nvSpPr>
        <p:spPr>
          <a:xfrm>
            <a:off x="4065287" y="1425908"/>
            <a:ext cx="830188" cy="221582"/>
          </a:xfrm>
          <a:prstGeom prst="roundRect">
            <a:avLst>
              <a:gd name="adj" fmla="val 5000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400" b="1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pr</a:t>
            </a:r>
            <a:endParaRPr lang="en-US" sz="1400" b="1" dirty="0">
              <a:solidFill>
                <a:schemeClr val="bg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28" name="Rectangle: Rounded Corners 27">
            <a:extLst>
              <a:ext uri="{FF2B5EF4-FFF2-40B4-BE49-F238E27FC236}">
                <a16:creationId xmlns:a16="http://schemas.microsoft.com/office/drawing/2014/main" id="{55DEC237-9C5E-42DB-B278-F63715368A0B}"/>
              </a:ext>
            </a:extLst>
          </p:cNvPr>
          <p:cNvSpPr/>
          <p:nvPr/>
        </p:nvSpPr>
        <p:spPr>
          <a:xfrm>
            <a:off x="4908452" y="1425908"/>
            <a:ext cx="830188" cy="221582"/>
          </a:xfrm>
          <a:prstGeom prst="roundRect">
            <a:avLst>
              <a:gd name="adj" fmla="val 5000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400" b="1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May</a:t>
            </a:r>
            <a:endParaRPr lang="en-US" sz="1400" b="1" dirty="0">
              <a:solidFill>
                <a:schemeClr val="bg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29" name="Rectangle: Rounded Corners 28">
            <a:extLst>
              <a:ext uri="{FF2B5EF4-FFF2-40B4-BE49-F238E27FC236}">
                <a16:creationId xmlns:a16="http://schemas.microsoft.com/office/drawing/2014/main" id="{224B9241-867B-4714-A931-DD639063CF00}"/>
              </a:ext>
            </a:extLst>
          </p:cNvPr>
          <p:cNvSpPr/>
          <p:nvPr/>
        </p:nvSpPr>
        <p:spPr>
          <a:xfrm>
            <a:off x="5751617" y="1425908"/>
            <a:ext cx="830188" cy="221582"/>
          </a:xfrm>
          <a:prstGeom prst="roundRect">
            <a:avLst>
              <a:gd name="adj" fmla="val 5000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400" b="1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Jun</a:t>
            </a:r>
            <a:endParaRPr lang="en-US" sz="1400" b="1" dirty="0">
              <a:solidFill>
                <a:schemeClr val="bg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30" name="Rectangle: Rounded Corners 29">
            <a:extLst>
              <a:ext uri="{FF2B5EF4-FFF2-40B4-BE49-F238E27FC236}">
                <a16:creationId xmlns:a16="http://schemas.microsoft.com/office/drawing/2014/main" id="{469DEBB1-CC33-4FB4-AD6F-2977F549C702}"/>
              </a:ext>
            </a:extLst>
          </p:cNvPr>
          <p:cNvSpPr/>
          <p:nvPr/>
        </p:nvSpPr>
        <p:spPr>
          <a:xfrm>
            <a:off x="6594782" y="1425908"/>
            <a:ext cx="830188" cy="221582"/>
          </a:xfrm>
          <a:prstGeom prst="roundRect">
            <a:avLst>
              <a:gd name="adj" fmla="val 5000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400" b="1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Jul</a:t>
            </a:r>
            <a:endParaRPr lang="en-US" sz="1400" b="1" dirty="0">
              <a:solidFill>
                <a:schemeClr val="bg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31" name="Rectangle: Rounded Corners 30">
            <a:extLst>
              <a:ext uri="{FF2B5EF4-FFF2-40B4-BE49-F238E27FC236}">
                <a16:creationId xmlns:a16="http://schemas.microsoft.com/office/drawing/2014/main" id="{C2AB3B45-5369-4CA6-A3D4-65F1B3E795C5}"/>
              </a:ext>
            </a:extLst>
          </p:cNvPr>
          <p:cNvSpPr/>
          <p:nvPr/>
        </p:nvSpPr>
        <p:spPr>
          <a:xfrm>
            <a:off x="7437947" y="1425908"/>
            <a:ext cx="830188" cy="221582"/>
          </a:xfrm>
          <a:prstGeom prst="roundRect">
            <a:avLst>
              <a:gd name="adj" fmla="val 5000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400" b="1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ug</a:t>
            </a:r>
            <a:endParaRPr lang="en-US" sz="1400" b="1" dirty="0">
              <a:solidFill>
                <a:schemeClr val="bg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32" name="Rectangle: Rounded Corners 31">
            <a:extLst>
              <a:ext uri="{FF2B5EF4-FFF2-40B4-BE49-F238E27FC236}">
                <a16:creationId xmlns:a16="http://schemas.microsoft.com/office/drawing/2014/main" id="{60F683D8-7D3D-47EB-800D-2EF9BB36D8AC}"/>
              </a:ext>
            </a:extLst>
          </p:cNvPr>
          <p:cNvSpPr/>
          <p:nvPr/>
        </p:nvSpPr>
        <p:spPr>
          <a:xfrm>
            <a:off x="8281112" y="1425908"/>
            <a:ext cx="830188" cy="221582"/>
          </a:xfrm>
          <a:prstGeom prst="roundRect">
            <a:avLst>
              <a:gd name="adj" fmla="val 5000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400" b="1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Sep</a:t>
            </a:r>
            <a:endParaRPr lang="en-US" sz="1400" b="1" dirty="0">
              <a:solidFill>
                <a:schemeClr val="bg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33" name="Rectangle: Rounded Corners 32">
            <a:extLst>
              <a:ext uri="{FF2B5EF4-FFF2-40B4-BE49-F238E27FC236}">
                <a16:creationId xmlns:a16="http://schemas.microsoft.com/office/drawing/2014/main" id="{37E66374-5EF5-42B3-83E0-E667FEC0AC59}"/>
              </a:ext>
            </a:extLst>
          </p:cNvPr>
          <p:cNvSpPr/>
          <p:nvPr/>
        </p:nvSpPr>
        <p:spPr>
          <a:xfrm>
            <a:off x="9124277" y="1425908"/>
            <a:ext cx="830188" cy="221582"/>
          </a:xfrm>
          <a:prstGeom prst="roundRect">
            <a:avLst>
              <a:gd name="adj" fmla="val 5000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400" b="1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Oct</a:t>
            </a:r>
            <a:endParaRPr lang="en-US" sz="1400" b="1" dirty="0">
              <a:solidFill>
                <a:schemeClr val="bg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34" name="Rectangle: Rounded Corners 33">
            <a:extLst>
              <a:ext uri="{FF2B5EF4-FFF2-40B4-BE49-F238E27FC236}">
                <a16:creationId xmlns:a16="http://schemas.microsoft.com/office/drawing/2014/main" id="{6BF1ECE1-2864-4636-8245-6F6F7ADCDEE3}"/>
              </a:ext>
            </a:extLst>
          </p:cNvPr>
          <p:cNvSpPr/>
          <p:nvPr/>
        </p:nvSpPr>
        <p:spPr>
          <a:xfrm>
            <a:off x="9967442" y="1425908"/>
            <a:ext cx="830188" cy="221582"/>
          </a:xfrm>
          <a:prstGeom prst="roundRect">
            <a:avLst>
              <a:gd name="adj" fmla="val 5000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400" b="1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Nov</a:t>
            </a:r>
            <a:endParaRPr lang="en-US" sz="1400" b="1" dirty="0">
              <a:solidFill>
                <a:schemeClr val="bg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35" name="Rectangle: Rounded Corners 34">
            <a:extLst>
              <a:ext uri="{FF2B5EF4-FFF2-40B4-BE49-F238E27FC236}">
                <a16:creationId xmlns:a16="http://schemas.microsoft.com/office/drawing/2014/main" id="{8F48A04D-1CC6-4F1F-BD77-67D2A6EE0E7F}"/>
              </a:ext>
            </a:extLst>
          </p:cNvPr>
          <p:cNvSpPr/>
          <p:nvPr/>
        </p:nvSpPr>
        <p:spPr>
          <a:xfrm>
            <a:off x="10810602" y="1425908"/>
            <a:ext cx="830188" cy="221582"/>
          </a:xfrm>
          <a:prstGeom prst="roundRect">
            <a:avLst>
              <a:gd name="adj" fmla="val 5000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400" b="1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Dec</a:t>
            </a:r>
            <a:endParaRPr lang="en-US" sz="1400" b="1" dirty="0">
              <a:solidFill>
                <a:schemeClr val="bg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F45762BA-ED1B-484C-BD68-BADD1A131F1E}"/>
              </a:ext>
            </a:extLst>
          </p:cNvPr>
          <p:cNvCxnSpPr>
            <a:cxnSpLocks/>
          </p:cNvCxnSpPr>
          <p:nvPr/>
        </p:nvCxnSpPr>
        <p:spPr>
          <a:xfrm flipH="1">
            <a:off x="1091293" y="2454547"/>
            <a:ext cx="10578193" cy="0"/>
          </a:xfrm>
          <a:prstGeom prst="line">
            <a:avLst/>
          </a:prstGeom>
          <a:ln>
            <a:solidFill>
              <a:schemeClr val="bg1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85C21974-203D-4553-B1CB-5E4DBC8E5E6A}"/>
              </a:ext>
            </a:extLst>
          </p:cNvPr>
          <p:cNvCxnSpPr>
            <a:cxnSpLocks/>
          </p:cNvCxnSpPr>
          <p:nvPr/>
        </p:nvCxnSpPr>
        <p:spPr>
          <a:xfrm flipH="1">
            <a:off x="1091293" y="3178447"/>
            <a:ext cx="10578193" cy="0"/>
          </a:xfrm>
          <a:prstGeom prst="line">
            <a:avLst/>
          </a:prstGeom>
          <a:ln>
            <a:solidFill>
              <a:schemeClr val="bg1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EF1FAB1D-A5C0-45CA-BFDA-538DF5490014}"/>
              </a:ext>
            </a:extLst>
          </p:cNvPr>
          <p:cNvCxnSpPr>
            <a:cxnSpLocks/>
          </p:cNvCxnSpPr>
          <p:nvPr/>
        </p:nvCxnSpPr>
        <p:spPr>
          <a:xfrm flipH="1">
            <a:off x="1091293" y="3883297"/>
            <a:ext cx="10578193" cy="0"/>
          </a:xfrm>
          <a:prstGeom prst="line">
            <a:avLst/>
          </a:prstGeom>
          <a:ln>
            <a:solidFill>
              <a:schemeClr val="bg1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A176BEB4-96CC-4DCE-BC36-00D2D290A15F}"/>
              </a:ext>
            </a:extLst>
          </p:cNvPr>
          <p:cNvCxnSpPr>
            <a:cxnSpLocks/>
          </p:cNvCxnSpPr>
          <p:nvPr/>
        </p:nvCxnSpPr>
        <p:spPr>
          <a:xfrm flipH="1">
            <a:off x="1091293" y="4597672"/>
            <a:ext cx="10578193" cy="0"/>
          </a:xfrm>
          <a:prstGeom prst="line">
            <a:avLst/>
          </a:prstGeom>
          <a:ln>
            <a:solidFill>
              <a:schemeClr val="bg1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02DE1920-2CD4-4814-84FF-715E007A3181}"/>
              </a:ext>
            </a:extLst>
          </p:cNvPr>
          <p:cNvCxnSpPr>
            <a:cxnSpLocks/>
          </p:cNvCxnSpPr>
          <p:nvPr/>
        </p:nvCxnSpPr>
        <p:spPr>
          <a:xfrm flipH="1">
            <a:off x="1091293" y="5308872"/>
            <a:ext cx="10578193" cy="0"/>
          </a:xfrm>
          <a:prstGeom prst="line">
            <a:avLst/>
          </a:prstGeom>
          <a:ln>
            <a:solidFill>
              <a:schemeClr val="bg1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Arrow: Right 53">
            <a:extLst>
              <a:ext uri="{FF2B5EF4-FFF2-40B4-BE49-F238E27FC236}">
                <a16:creationId xmlns:a16="http://schemas.microsoft.com/office/drawing/2014/main" id="{E94D9665-F0FE-490C-84A4-822BE352A114}"/>
              </a:ext>
            </a:extLst>
          </p:cNvPr>
          <p:cNvSpPr/>
          <p:nvPr/>
        </p:nvSpPr>
        <p:spPr>
          <a:xfrm>
            <a:off x="1535791" y="1862427"/>
            <a:ext cx="2525942" cy="418574"/>
          </a:xfrm>
          <a:prstGeom prst="rightArrow">
            <a:avLst>
              <a:gd name="adj1" fmla="val 68204"/>
              <a:gd name="adj2" fmla="val 50000"/>
            </a:avLst>
          </a:prstGeom>
          <a:solidFill>
            <a:srgbClr val="FDD0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i="1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orem ipsum</a:t>
            </a:r>
          </a:p>
        </p:txBody>
      </p:sp>
      <p:sp>
        <p:nvSpPr>
          <p:cNvPr id="55" name="Arrow: Right 54">
            <a:extLst>
              <a:ext uri="{FF2B5EF4-FFF2-40B4-BE49-F238E27FC236}">
                <a16:creationId xmlns:a16="http://schemas.microsoft.com/office/drawing/2014/main" id="{8F635371-FA53-4A18-A2F9-8A8C5CE5560B}"/>
              </a:ext>
            </a:extLst>
          </p:cNvPr>
          <p:cNvSpPr/>
          <p:nvPr/>
        </p:nvSpPr>
        <p:spPr>
          <a:xfrm>
            <a:off x="2377772" y="2592677"/>
            <a:ext cx="3367919" cy="418574"/>
          </a:xfrm>
          <a:prstGeom prst="rightArrow">
            <a:avLst>
              <a:gd name="adj1" fmla="val 68204"/>
              <a:gd name="adj2" fmla="val 50000"/>
            </a:avLst>
          </a:prstGeom>
          <a:solidFill>
            <a:srgbClr val="FDD0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i="1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orem ipsum</a:t>
            </a:r>
          </a:p>
        </p:txBody>
      </p:sp>
      <p:sp>
        <p:nvSpPr>
          <p:cNvPr id="56" name="Arrow: Right 55">
            <a:extLst>
              <a:ext uri="{FF2B5EF4-FFF2-40B4-BE49-F238E27FC236}">
                <a16:creationId xmlns:a16="http://schemas.microsoft.com/office/drawing/2014/main" id="{76F062A0-0EB0-432D-9BE8-BA0B46100FC9}"/>
              </a:ext>
            </a:extLst>
          </p:cNvPr>
          <p:cNvSpPr/>
          <p:nvPr/>
        </p:nvSpPr>
        <p:spPr>
          <a:xfrm>
            <a:off x="2016995" y="3332970"/>
            <a:ext cx="4577786" cy="418574"/>
          </a:xfrm>
          <a:prstGeom prst="rightArrow">
            <a:avLst>
              <a:gd name="adj1" fmla="val 68204"/>
              <a:gd name="adj2" fmla="val 50000"/>
            </a:avLst>
          </a:prstGeom>
          <a:solidFill>
            <a:srgbClr val="FDD0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i="1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orem ipsum</a:t>
            </a:r>
          </a:p>
        </p:txBody>
      </p:sp>
      <p:sp>
        <p:nvSpPr>
          <p:cNvPr id="57" name="Arrow: Right 56">
            <a:extLst>
              <a:ext uri="{FF2B5EF4-FFF2-40B4-BE49-F238E27FC236}">
                <a16:creationId xmlns:a16="http://schemas.microsoft.com/office/drawing/2014/main" id="{31A74082-B73F-4469-A016-3A94BD422DDF}"/>
              </a:ext>
            </a:extLst>
          </p:cNvPr>
          <p:cNvSpPr/>
          <p:nvPr/>
        </p:nvSpPr>
        <p:spPr>
          <a:xfrm>
            <a:off x="4903711" y="4037819"/>
            <a:ext cx="5050751" cy="418574"/>
          </a:xfrm>
          <a:prstGeom prst="rightArrow">
            <a:avLst>
              <a:gd name="adj1" fmla="val 68204"/>
              <a:gd name="adj2" fmla="val 50000"/>
            </a:avLst>
          </a:prstGeom>
          <a:solidFill>
            <a:srgbClr val="FDD0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i="1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orem ipsum</a:t>
            </a:r>
          </a:p>
        </p:txBody>
      </p:sp>
      <p:sp>
        <p:nvSpPr>
          <p:cNvPr id="58" name="Arrow: Right 57">
            <a:extLst>
              <a:ext uri="{FF2B5EF4-FFF2-40B4-BE49-F238E27FC236}">
                <a16:creationId xmlns:a16="http://schemas.microsoft.com/office/drawing/2014/main" id="{75AD1EA8-0268-4502-A03B-1E92F6125EAE}"/>
              </a:ext>
            </a:extLst>
          </p:cNvPr>
          <p:cNvSpPr/>
          <p:nvPr/>
        </p:nvSpPr>
        <p:spPr>
          <a:xfrm>
            <a:off x="7068874" y="4742670"/>
            <a:ext cx="3741728" cy="418574"/>
          </a:xfrm>
          <a:prstGeom prst="rightArrow">
            <a:avLst>
              <a:gd name="adj1" fmla="val 68204"/>
              <a:gd name="adj2" fmla="val 50000"/>
            </a:avLst>
          </a:prstGeom>
          <a:solidFill>
            <a:srgbClr val="FDD0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i="1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orem ipsum</a:t>
            </a:r>
          </a:p>
        </p:txBody>
      </p:sp>
      <p:sp>
        <p:nvSpPr>
          <p:cNvPr id="59" name="Arrow: Right 58">
            <a:extLst>
              <a:ext uri="{FF2B5EF4-FFF2-40B4-BE49-F238E27FC236}">
                <a16:creationId xmlns:a16="http://schemas.microsoft.com/office/drawing/2014/main" id="{5B0A56A1-6823-4E1E-A37A-A7C52C276AC4}"/>
              </a:ext>
            </a:extLst>
          </p:cNvPr>
          <p:cNvSpPr/>
          <p:nvPr/>
        </p:nvSpPr>
        <p:spPr>
          <a:xfrm>
            <a:off x="7059061" y="5466570"/>
            <a:ext cx="4577786" cy="418574"/>
          </a:xfrm>
          <a:prstGeom prst="rightArrow">
            <a:avLst>
              <a:gd name="adj1" fmla="val 68204"/>
              <a:gd name="adj2" fmla="val 50000"/>
            </a:avLst>
          </a:prstGeom>
          <a:solidFill>
            <a:srgbClr val="FDD0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i="1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orem ipsum</a:t>
            </a:r>
          </a:p>
        </p:txBody>
      </p:sp>
    </p:spTree>
    <p:extLst>
      <p:ext uri="{BB962C8B-B14F-4D97-AF65-F5344CB8AC3E}">
        <p14:creationId xmlns:p14="http://schemas.microsoft.com/office/powerpoint/2010/main" val="290435097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858E4B3-3CD0-46A1-B0DC-45D3A5347E0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454204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3"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43A5431-25A4-4359-8D26-0CF7E237FE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en-US" sz="3600" dirty="0"/>
              <a:t>Multiple project timelines</a:t>
            </a:r>
          </a:p>
        </p:txBody>
      </p:sp>
      <p:graphicFrame>
        <p:nvGraphicFramePr>
          <p:cNvPr id="8" name="Table 8">
            <a:extLst>
              <a:ext uri="{FF2B5EF4-FFF2-40B4-BE49-F238E27FC236}">
                <a16:creationId xmlns:a16="http://schemas.microsoft.com/office/drawing/2014/main" id="{6A70266A-0BFA-4322-BCFD-D0ED95976FE4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443315235"/>
              </p:ext>
            </p:extLst>
          </p:nvPr>
        </p:nvGraphicFramePr>
        <p:xfrm>
          <a:off x="637989" y="2971800"/>
          <a:ext cx="10990434" cy="306037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45418">
                  <a:extLst>
                    <a:ext uri="{9D8B030D-6E8A-4147-A177-3AD203B41FA5}">
                      <a16:colId xmlns:a16="http://schemas.microsoft.com/office/drawing/2014/main" val="56068457"/>
                    </a:ext>
                  </a:extLst>
                </a:gridCol>
                <a:gridCol w="845418">
                  <a:extLst>
                    <a:ext uri="{9D8B030D-6E8A-4147-A177-3AD203B41FA5}">
                      <a16:colId xmlns:a16="http://schemas.microsoft.com/office/drawing/2014/main" val="1116672077"/>
                    </a:ext>
                  </a:extLst>
                </a:gridCol>
                <a:gridCol w="845418">
                  <a:extLst>
                    <a:ext uri="{9D8B030D-6E8A-4147-A177-3AD203B41FA5}">
                      <a16:colId xmlns:a16="http://schemas.microsoft.com/office/drawing/2014/main" val="806939660"/>
                    </a:ext>
                  </a:extLst>
                </a:gridCol>
                <a:gridCol w="845418">
                  <a:extLst>
                    <a:ext uri="{9D8B030D-6E8A-4147-A177-3AD203B41FA5}">
                      <a16:colId xmlns:a16="http://schemas.microsoft.com/office/drawing/2014/main" val="559331030"/>
                    </a:ext>
                  </a:extLst>
                </a:gridCol>
                <a:gridCol w="845418">
                  <a:extLst>
                    <a:ext uri="{9D8B030D-6E8A-4147-A177-3AD203B41FA5}">
                      <a16:colId xmlns:a16="http://schemas.microsoft.com/office/drawing/2014/main" val="639162654"/>
                    </a:ext>
                  </a:extLst>
                </a:gridCol>
                <a:gridCol w="845418">
                  <a:extLst>
                    <a:ext uri="{9D8B030D-6E8A-4147-A177-3AD203B41FA5}">
                      <a16:colId xmlns:a16="http://schemas.microsoft.com/office/drawing/2014/main" val="2960133229"/>
                    </a:ext>
                  </a:extLst>
                </a:gridCol>
                <a:gridCol w="845418">
                  <a:extLst>
                    <a:ext uri="{9D8B030D-6E8A-4147-A177-3AD203B41FA5}">
                      <a16:colId xmlns:a16="http://schemas.microsoft.com/office/drawing/2014/main" val="2670157424"/>
                    </a:ext>
                  </a:extLst>
                </a:gridCol>
                <a:gridCol w="845418">
                  <a:extLst>
                    <a:ext uri="{9D8B030D-6E8A-4147-A177-3AD203B41FA5}">
                      <a16:colId xmlns:a16="http://schemas.microsoft.com/office/drawing/2014/main" val="56734095"/>
                    </a:ext>
                  </a:extLst>
                </a:gridCol>
                <a:gridCol w="845418">
                  <a:extLst>
                    <a:ext uri="{9D8B030D-6E8A-4147-A177-3AD203B41FA5}">
                      <a16:colId xmlns:a16="http://schemas.microsoft.com/office/drawing/2014/main" val="3363831654"/>
                    </a:ext>
                  </a:extLst>
                </a:gridCol>
                <a:gridCol w="845418">
                  <a:extLst>
                    <a:ext uri="{9D8B030D-6E8A-4147-A177-3AD203B41FA5}">
                      <a16:colId xmlns:a16="http://schemas.microsoft.com/office/drawing/2014/main" val="1136282572"/>
                    </a:ext>
                  </a:extLst>
                </a:gridCol>
                <a:gridCol w="845418">
                  <a:extLst>
                    <a:ext uri="{9D8B030D-6E8A-4147-A177-3AD203B41FA5}">
                      <a16:colId xmlns:a16="http://schemas.microsoft.com/office/drawing/2014/main" val="458718262"/>
                    </a:ext>
                  </a:extLst>
                </a:gridCol>
                <a:gridCol w="845418">
                  <a:extLst>
                    <a:ext uri="{9D8B030D-6E8A-4147-A177-3AD203B41FA5}">
                      <a16:colId xmlns:a16="http://schemas.microsoft.com/office/drawing/2014/main" val="4058881520"/>
                    </a:ext>
                  </a:extLst>
                </a:gridCol>
                <a:gridCol w="845418">
                  <a:extLst>
                    <a:ext uri="{9D8B030D-6E8A-4147-A177-3AD203B41FA5}">
                      <a16:colId xmlns:a16="http://schemas.microsoft.com/office/drawing/2014/main" val="42697736"/>
                    </a:ext>
                  </a:extLst>
                </a:gridCol>
              </a:tblGrid>
              <a:tr h="437197">
                <a:tc>
                  <a:txBody>
                    <a:bodyPr/>
                    <a:lstStyle/>
                    <a:p>
                      <a:endParaRPr lang="en-US" sz="14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B w="38100" cmpd="sng"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Jan</a:t>
                      </a:r>
                    </a:p>
                  </a:txBody>
                  <a:tcPr marL="36000" marR="36000" marT="0" marB="0" anchor="ctr">
                    <a:lnB w="38100" cmpd="sng">
                      <a:noFill/>
                    </a:lnB>
                    <a:solidFill>
                      <a:srgbClr val="6B2B9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Feb</a:t>
                      </a:r>
                    </a:p>
                  </a:txBody>
                  <a:tcPr marL="36000" marR="36000" marT="0" marB="0" anchor="ctr">
                    <a:lnB w="38100" cmpd="sng">
                      <a:noFill/>
                    </a:lnB>
                    <a:solidFill>
                      <a:srgbClr val="6B2B9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Mar</a:t>
                      </a:r>
                    </a:p>
                  </a:txBody>
                  <a:tcPr marL="36000" marR="36000" marT="0" marB="0" anchor="ctr">
                    <a:lnB w="38100" cmpd="sng">
                      <a:noFill/>
                    </a:lnB>
                    <a:solidFill>
                      <a:srgbClr val="6B2B9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Apr</a:t>
                      </a:r>
                    </a:p>
                  </a:txBody>
                  <a:tcPr marL="36000" marR="36000" marT="0" marB="0" anchor="ctr">
                    <a:lnB w="38100" cmpd="sng">
                      <a:noFill/>
                    </a:lnB>
                    <a:solidFill>
                      <a:srgbClr val="6B2B9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May</a:t>
                      </a:r>
                    </a:p>
                  </a:txBody>
                  <a:tcPr marL="36000" marR="36000" marT="0" marB="0" anchor="ctr">
                    <a:lnB w="38100" cmpd="sng">
                      <a:noFill/>
                    </a:lnB>
                    <a:solidFill>
                      <a:srgbClr val="6B2B9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Jun</a:t>
                      </a:r>
                    </a:p>
                  </a:txBody>
                  <a:tcPr marL="36000" marR="36000" marT="0" marB="0" anchor="ctr">
                    <a:lnB w="38100" cmpd="sng">
                      <a:noFill/>
                    </a:lnB>
                    <a:solidFill>
                      <a:srgbClr val="6B2B9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Jul</a:t>
                      </a:r>
                    </a:p>
                  </a:txBody>
                  <a:tcPr marL="36000" marR="36000" marT="0" marB="0" anchor="ctr">
                    <a:lnB w="38100" cmpd="sng">
                      <a:noFill/>
                    </a:lnB>
                    <a:solidFill>
                      <a:srgbClr val="6B2B9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Aug</a:t>
                      </a:r>
                    </a:p>
                  </a:txBody>
                  <a:tcPr marL="36000" marR="36000" marT="0" marB="0" anchor="ctr">
                    <a:lnB w="38100" cmpd="sng">
                      <a:noFill/>
                    </a:lnB>
                    <a:solidFill>
                      <a:srgbClr val="6B2B9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Sep</a:t>
                      </a:r>
                    </a:p>
                  </a:txBody>
                  <a:tcPr marL="36000" marR="36000" marT="0" marB="0" anchor="ctr">
                    <a:lnB w="38100" cmpd="sng">
                      <a:noFill/>
                    </a:lnB>
                    <a:solidFill>
                      <a:srgbClr val="6B2B9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Oct</a:t>
                      </a:r>
                    </a:p>
                  </a:txBody>
                  <a:tcPr marL="36000" marR="36000" marT="0" marB="0" anchor="ctr">
                    <a:lnB w="38100" cmpd="sng">
                      <a:noFill/>
                    </a:lnB>
                    <a:solidFill>
                      <a:srgbClr val="6B2B9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Nov</a:t>
                      </a:r>
                    </a:p>
                  </a:txBody>
                  <a:tcPr marL="36000" marR="36000" marT="0" marB="0" anchor="ctr">
                    <a:lnB w="38100" cmpd="sng">
                      <a:noFill/>
                    </a:lnB>
                    <a:solidFill>
                      <a:srgbClr val="6B2B9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Dec</a:t>
                      </a:r>
                    </a:p>
                  </a:txBody>
                  <a:tcPr marL="36000" marR="36000" marT="0" marB="0" anchor="ctr">
                    <a:lnB w="38100" cmpd="sng">
                      <a:noFill/>
                    </a:lnB>
                    <a:solidFill>
                      <a:srgbClr val="6B2B9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0249303"/>
                  </a:ext>
                </a:extLst>
              </a:tr>
              <a:tr h="437197">
                <a:tc>
                  <a:txBody>
                    <a:bodyPr/>
                    <a:lstStyle/>
                    <a:p>
                      <a:endParaRPr lang="en-US" sz="14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59675372"/>
                  </a:ext>
                </a:extLst>
              </a:tr>
              <a:tr h="437197">
                <a:tc>
                  <a:txBody>
                    <a:bodyPr/>
                    <a:lstStyle/>
                    <a:p>
                      <a:endParaRPr lang="en-US" sz="14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31327981"/>
                  </a:ext>
                </a:extLst>
              </a:tr>
              <a:tr h="437197">
                <a:tc>
                  <a:txBody>
                    <a:bodyPr/>
                    <a:lstStyle/>
                    <a:p>
                      <a:endParaRPr lang="en-US" sz="140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305551"/>
                  </a:ext>
                </a:extLst>
              </a:tr>
              <a:tr h="437197">
                <a:tc>
                  <a:txBody>
                    <a:bodyPr/>
                    <a:lstStyle/>
                    <a:p>
                      <a:endParaRPr lang="en-US" sz="140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705676"/>
                  </a:ext>
                </a:extLst>
              </a:tr>
              <a:tr h="437197">
                <a:tc>
                  <a:txBody>
                    <a:bodyPr/>
                    <a:lstStyle/>
                    <a:p>
                      <a:endParaRPr lang="en-US" sz="140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41551229"/>
                  </a:ext>
                </a:extLst>
              </a:tr>
              <a:tr h="437197">
                <a:tc>
                  <a:txBody>
                    <a:bodyPr/>
                    <a:lstStyle/>
                    <a:p>
                      <a:endParaRPr lang="en-US" sz="140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37476877"/>
                  </a:ext>
                </a:extLst>
              </a:tr>
            </a:tbl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71613EA-3D20-46F5-AA0A-C221C6EA79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13A2AF-9881-47E7-AE38-D70ECBD2298B}" type="slidenum">
              <a:rPr lang="en-US" smtClean="0"/>
              <a:t>7</a:t>
            </a:fld>
            <a:endParaRPr lang="en-US"/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43C9940D-2C12-4FA3-B381-FA2462FEC307}"/>
              </a:ext>
            </a:extLst>
          </p:cNvPr>
          <p:cNvSpPr/>
          <p:nvPr/>
        </p:nvSpPr>
        <p:spPr>
          <a:xfrm rot="16200000">
            <a:off x="-418238" y="4485226"/>
            <a:ext cx="2603179" cy="490724"/>
          </a:xfrm>
          <a:prstGeom prst="roundRect">
            <a:avLst>
              <a:gd name="adj" fmla="val 0"/>
            </a:avLst>
          </a:prstGeom>
          <a:solidFill>
            <a:srgbClr val="DE4D1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400" b="1" i="1" dirty="0">
                <a:latin typeface="Segoe UI Light" panose="020B0502040204020203" pitchFamily="34" charset="0"/>
                <a:cs typeface="Segoe UI Light" panose="020B0502040204020203" pitchFamily="34" charset="0"/>
              </a:rPr>
              <a:t>Lorem</a:t>
            </a:r>
            <a:endParaRPr lang="en-US" sz="1400" b="1" i="1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BFBADDE0-7AD0-451B-9A40-772ACAC3AF12}"/>
              </a:ext>
            </a:extLst>
          </p:cNvPr>
          <p:cNvSpPr/>
          <p:nvPr/>
        </p:nvSpPr>
        <p:spPr>
          <a:xfrm>
            <a:off x="1393864" y="2880557"/>
            <a:ext cx="182485" cy="182485"/>
          </a:xfrm>
          <a:prstGeom prst="ellipse">
            <a:avLst/>
          </a:prstGeom>
          <a:solidFill>
            <a:srgbClr val="5E5E5E"/>
          </a:solidFill>
          <a:ln w="635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4BCA49CA-B887-40D4-AF92-4A6344EB8C0A}"/>
              </a:ext>
            </a:extLst>
          </p:cNvPr>
          <p:cNvSpPr/>
          <p:nvPr/>
        </p:nvSpPr>
        <p:spPr>
          <a:xfrm>
            <a:off x="6465189" y="2880557"/>
            <a:ext cx="182485" cy="182485"/>
          </a:xfrm>
          <a:prstGeom prst="ellipse">
            <a:avLst/>
          </a:prstGeom>
          <a:solidFill>
            <a:srgbClr val="5E5E5E"/>
          </a:solidFill>
          <a:ln w="635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84E9E58B-8F06-418E-9752-0C8AE6F39C2A}"/>
              </a:ext>
            </a:extLst>
          </p:cNvPr>
          <p:cNvSpPr/>
          <p:nvPr/>
        </p:nvSpPr>
        <p:spPr>
          <a:xfrm>
            <a:off x="11536514" y="2880557"/>
            <a:ext cx="182485" cy="182485"/>
          </a:xfrm>
          <a:prstGeom prst="ellipse">
            <a:avLst/>
          </a:prstGeom>
          <a:solidFill>
            <a:srgbClr val="5E5E5E"/>
          </a:solidFill>
          <a:ln w="635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08AA4726-C81E-4D7E-88AD-DEAD29849DAC}"/>
              </a:ext>
            </a:extLst>
          </p:cNvPr>
          <p:cNvSpPr/>
          <p:nvPr/>
        </p:nvSpPr>
        <p:spPr>
          <a:xfrm>
            <a:off x="1363663" y="2456679"/>
            <a:ext cx="1200784" cy="327660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r>
              <a:rPr lang="da-DK" sz="1400" b="1" i="1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orem ipsum</a:t>
            </a:r>
            <a:endParaRPr lang="en-US" sz="1400" b="1" i="1" dirty="0">
              <a:solidFill>
                <a:schemeClr val="tx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C3C760A2-1538-4E1F-903F-9F0D74F2465C}"/>
              </a:ext>
            </a:extLst>
          </p:cNvPr>
          <p:cNvSpPr/>
          <p:nvPr/>
        </p:nvSpPr>
        <p:spPr>
          <a:xfrm>
            <a:off x="10548416" y="2456679"/>
            <a:ext cx="1200784" cy="327660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 algn="r"/>
            <a:r>
              <a:rPr lang="da-DK" sz="1400" b="1" i="1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orem ipsum</a:t>
            </a:r>
            <a:endParaRPr lang="en-US" sz="1400" b="1" i="1" dirty="0">
              <a:solidFill>
                <a:schemeClr val="tx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38324D5B-C8A8-47EC-9079-C6C456083AED}"/>
              </a:ext>
            </a:extLst>
          </p:cNvPr>
          <p:cNvSpPr/>
          <p:nvPr/>
        </p:nvSpPr>
        <p:spPr>
          <a:xfrm>
            <a:off x="5956039" y="2456679"/>
            <a:ext cx="1200784" cy="327660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 algn="ctr"/>
            <a:r>
              <a:rPr lang="da-DK" sz="1400" b="1" i="1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orem ipsum</a:t>
            </a:r>
            <a:endParaRPr lang="en-US" sz="1400" b="1" i="1" dirty="0">
              <a:solidFill>
                <a:schemeClr val="tx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7387639C-D745-4457-AF67-5EBDFDDE67F7}"/>
              </a:ext>
            </a:extLst>
          </p:cNvPr>
          <p:cNvSpPr/>
          <p:nvPr/>
        </p:nvSpPr>
        <p:spPr>
          <a:xfrm>
            <a:off x="3098839" y="2880557"/>
            <a:ext cx="182485" cy="182485"/>
          </a:xfrm>
          <a:prstGeom prst="ellipse">
            <a:avLst/>
          </a:prstGeom>
          <a:solidFill>
            <a:srgbClr val="A6B726"/>
          </a:solidFill>
          <a:ln w="635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702902A4-44C0-4D50-87F0-EAAF45B2581F}"/>
              </a:ext>
            </a:extLst>
          </p:cNvPr>
          <p:cNvSpPr/>
          <p:nvPr/>
        </p:nvSpPr>
        <p:spPr>
          <a:xfrm>
            <a:off x="7346989" y="2880557"/>
            <a:ext cx="182485" cy="182485"/>
          </a:xfrm>
          <a:prstGeom prst="ellipse">
            <a:avLst/>
          </a:prstGeom>
          <a:solidFill>
            <a:srgbClr val="A6B726"/>
          </a:solidFill>
          <a:ln w="635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910B1E66-8002-4991-99F3-790DE254551E}"/>
              </a:ext>
            </a:extLst>
          </p:cNvPr>
          <p:cNvSpPr/>
          <p:nvPr/>
        </p:nvSpPr>
        <p:spPr>
          <a:xfrm>
            <a:off x="3342284" y="1287900"/>
            <a:ext cx="2418041" cy="1072561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marL="216000" indent="-2160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orem ipsum dolor sit </a:t>
            </a:r>
            <a:r>
              <a:rPr lang="en-US" sz="1400" dirty="0" err="1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met</a:t>
            </a:r>
            <a:r>
              <a:rPr lang="en-US" sz="1400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, </a:t>
            </a:r>
            <a:r>
              <a:rPr lang="en-US" sz="1400" dirty="0" err="1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onsectetur</a:t>
            </a:r>
            <a:r>
              <a:rPr lang="en-US" sz="1400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sz="1400" dirty="0" err="1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dipiscing</a:t>
            </a:r>
            <a:r>
              <a:rPr lang="en-US" sz="1400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sz="1400" dirty="0" err="1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lit</a:t>
            </a:r>
            <a:r>
              <a:rPr lang="en-US" sz="1400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. </a:t>
            </a:r>
          </a:p>
          <a:p>
            <a:pPr marL="216000" indent="-2160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orem ipsum dolor sit </a:t>
            </a:r>
            <a:r>
              <a:rPr lang="en-US" sz="1400" dirty="0" err="1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met</a:t>
            </a:r>
            <a:r>
              <a:rPr lang="en-US" sz="1400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, </a:t>
            </a:r>
            <a:r>
              <a:rPr lang="en-US" sz="1400" dirty="0" err="1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onsectetur</a:t>
            </a:r>
            <a:r>
              <a:rPr lang="en-US" sz="1400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sz="1400" dirty="0" err="1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dipiscing</a:t>
            </a:r>
            <a:r>
              <a:rPr lang="en-US" sz="1400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sz="1400" dirty="0" err="1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lit</a:t>
            </a:r>
            <a:r>
              <a:rPr lang="en-US" sz="1400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. </a:t>
            </a:r>
          </a:p>
        </p:txBody>
      </p: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AE79863B-25B1-491D-95C9-3B5720F6DA20}"/>
              </a:ext>
            </a:extLst>
          </p:cNvPr>
          <p:cNvSpPr/>
          <p:nvPr/>
        </p:nvSpPr>
        <p:spPr>
          <a:xfrm>
            <a:off x="7590434" y="1287900"/>
            <a:ext cx="2418041" cy="1072561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marL="216000" indent="-2160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orem ipsum dolor sit </a:t>
            </a:r>
            <a:r>
              <a:rPr lang="en-US" sz="1400" dirty="0" err="1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met</a:t>
            </a:r>
            <a:r>
              <a:rPr lang="en-US" sz="1400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, </a:t>
            </a:r>
            <a:r>
              <a:rPr lang="en-US" sz="1400" dirty="0" err="1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onsectetur</a:t>
            </a:r>
            <a:r>
              <a:rPr lang="en-US" sz="1400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sz="1400" dirty="0" err="1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dipiscing</a:t>
            </a:r>
            <a:r>
              <a:rPr lang="en-US" sz="1400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sz="1400" dirty="0" err="1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lit</a:t>
            </a:r>
            <a:r>
              <a:rPr lang="en-US" sz="1400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. </a:t>
            </a:r>
          </a:p>
          <a:p>
            <a:pPr marL="216000" indent="-2160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orem ipsum dolor sit </a:t>
            </a:r>
            <a:r>
              <a:rPr lang="en-US" sz="1400" dirty="0" err="1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met</a:t>
            </a:r>
            <a:r>
              <a:rPr lang="en-US" sz="1400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, </a:t>
            </a:r>
            <a:r>
              <a:rPr lang="en-US" sz="1400" dirty="0" err="1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onsectetur</a:t>
            </a:r>
            <a:r>
              <a:rPr lang="en-US" sz="1400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sz="1400" dirty="0" err="1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dipiscing</a:t>
            </a:r>
            <a:r>
              <a:rPr lang="en-US" sz="1400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sz="1400" dirty="0" err="1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lit</a:t>
            </a:r>
            <a:r>
              <a:rPr lang="en-US" sz="1400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. 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D0294E2C-B96E-44A3-9F95-9BF9F30E0636}"/>
              </a:ext>
            </a:extLst>
          </p:cNvPr>
          <p:cNvCxnSpPr>
            <a:cxnSpLocks/>
          </p:cNvCxnSpPr>
          <p:nvPr/>
        </p:nvCxnSpPr>
        <p:spPr>
          <a:xfrm flipV="1">
            <a:off x="3190081" y="1397000"/>
            <a:ext cx="0" cy="1536700"/>
          </a:xfrm>
          <a:prstGeom prst="line">
            <a:avLst/>
          </a:prstGeom>
          <a:ln w="12700">
            <a:solidFill>
              <a:srgbClr val="A6B726"/>
            </a:solidFill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02CB887E-76E7-4DFD-B9F9-2AC02B7D5048}"/>
              </a:ext>
            </a:extLst>
          </p:cNvPr>
          <p:cNvCxnSpPr>
            <a:cxnSpLocks/>
          </p:cNvCxnSpPr>
          <p:nvPr/>
        </p:nvCxnSpPr>
        <p:spPr>
          <a:xfrm flipV="1">
            <a:off x="7438231" y="1397000"/>
            <a:ext cx="0" cy="1536700"/>
          </a:xfrm>
          <a:prstGeom prst="line">
            <a:avLst/>
          </a:prstGeom>
          <a:ln w="12700">
            <a:solidFill>
              <a:srgbClr val="A6B726"/>
            </a:solidFill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Arrow: Right 27">
            <a:extLst>
              <a:ext uri="{FF2B5EF4-FFF2-40B4-BE49-F238E27FC236}">
                <a16:creationId xmlns:a16="http://schemas.microsoft.com/office/drawing/2014/main" id="{85D8B865-A7D6-431F-A335-BFEA91FAFA01}"/>
              </a:ext>
            </a:extLst>
          </p:cNvPr>
          <p:cNvSpPr/>
          <p:nvPr/>
        </p:nvSpPr>
        <p:spPr>
          <a:xfrm>
            <a:off x="3878941" y="3490253"/>
            <a:ext cx="2664734" cy="257835"/>
          </a:xfrm>
          <a:prstGeom prst="rightArrow">
            <a:avLst>
              <a:gd name="adj1" fmla="val 100000"/>
              <a:gd name="adj2" fmla="val 40898"/>
            </a:avLst>
          </a:prstGeom>
          <a:solidFill>
            <a:srgbClr val="295E7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i="1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orem ipsum</a:t>
            </a:r>
          </a:p>
        </p:txBody>
      </p:sp>
      <p:sp>
        <p:nvSpPr>
          <p:cNvPr id="26" name="Arrow: Right 25">
            <a:extLst>
              <a:ext uri="{FF2B5EF4-FFF2-40B4-BE49-F238E27FC236}">
                <a16:creationId xmlns:a16="http://schemas.microsoft.com/office/drawing/2014/main" id="{D43F508C-B1E5-4E7A-AF4C-E895C75383F4}"/>
              </a:ext>
            </a:extLst>
          </p:cNvPr>
          <p:cNvSpPr/>
          <p:nvPr/>
        </p:nvSpPr>
        <p:spPr>
          <a:xfrm>
            <a:off x="1535791" y="3490253"/>
            <a:ext cx="2440897" cy="257835"/>
          </a:xfrm>
          <a:prstGeom prst="rightArrow">
            <a:avLst>
              <a:gd name="adj1" fmla="val 100000"/>
              <a:gd name="adj2" fmla="val 40898"/>
            </a:avLst>
          </a:prstGeom>
          <a:solidFill>
            <a:srgbClr val="3B87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i="1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orem ipsum</a:t>
            </a:r>
          </a:p>
        </p:txBody>
      </p:sp>
      <p:sp>
        <p:nvSpPr>
          <p:cNvPr id="29" name="Arrow: Right 28">
            <a:extLst>
              <a:ext uri="{FF2B5EF4-FFF2-40B4-BE49-F238E27FC236}">
                <a16:creationId xmlns:a16="http://schemas.microsoft.com/office/drawing/2014/main" id="{0A93FC78-C9A6-4D78-BE0B-4F4B76A6BF79}"/>
              </a:ext>
            </a:extLst>
          </p:cNvPr>
          <p:cNvSpPr/>
          <p:nvPr/>
        </p:nvSpPr>
        <p:spPr>
          <a:xfrm>
            <a:off x="2364466" y="3928403"/>
            <a:ext cx="4179209" cy="257835"/>
          </a:xfrm>
          <a:prstGeom prst="rightArrow">
            <a:avLst>
              <a:gd name="adj1" fmla="val 100000"/>
              <a:gd name="adj2" fmla="val 40898"/>
            </a:avLst>
          </a:prstGeom>
          <a:solidFill>
            <a:srgbClr val="3B87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i="1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orem ipsum</a:t>
            </a:r>
          </a:p>
        </p:txBody>
      </p:sp>
      <p:sp>
        <p:nvSpPr>
          <p:cNvPr id="30" name="Arrow: Right 29">
            <a:extLst>
              <a:ext uri="{FF2B5EF4-FFF2-40B4-BE49-F238E27FC236}">
                <a16:creationId xmlns:a16="http://schemas.microsoft.com/office/drawing/2014/main" id="{49C35E78-A404-400D-925F-2D7E8B18D4EC}"/>
              </a:ext>
            </a:extLst>
          </p:cNvPr>
          <p:cNvSpPr/>
          <p:nvPr/>
        </p:nvSpPr>
        <p:spPr>
          <a:xfrm>
            <a:off x="4061460" y="4355123"/>
            <a:ext cx="2482215" cy="257835"/>
          </a:xfrm>
          <a:prstGeom prst="rightArrow">
            <a:avLst>
              <a:gd name="adj1" fmla="val 100000"/>
              <a:gd name="adj2" fmla="val 40898"/>
            </a:avLst>
          </a:prstGeom>
          <a:solidFill>
            <a:srgbClr val="3B87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i="1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orem ipsum</a:t>
            </a:r>
          </a:p>
        </p:txBody>
      </p:sp>
      <p:sp>
        <p:nvSpPr>
          <p:cNvPr id="32" name="Arrow: Right 31">
            <a:extLst>
              <a:ext uri="{FF2B5EF4-FFF2-40B4-BE49-F238E27FC236}">
                <a16:creationId xmlns:a16="http://schemas.microsoft.com/office/drawing/2014/main" id="{8FD71A3E-2A8C-4E58-8F73-41A5D1BB5D75}"/>
              </a:ext>
            </a:extLst>
          </p:cNvPr>
          <p:cNvSpPr/>
          <p:nvPr/>
        </p:nvSpPr>
        <p:spPr>
          <a:xfrm>
            <a:off x="8945880" y="4783748"/>
            <a:ext cx="1897380" cy="257835"/>
          </a:xfrm>
          <a:prstGeom prst="rightArrow">
            <a:avLst>
              <a:gd name="adj1" fmla="val 100000"/>
              <a:gd name="adj2" fmla="val 40898"/>
            </a:avLst>
          </a:prstGeom>
          <a:solidFill>
            <a:srgbClr val="295E7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i="1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orem ipsum</a:t>
            </a:r>
          </a:p>
        </p:txBody>
      </p:sp>
      <p:sp>
        <p:nvSpPr>
          <p:cNvPr id="31" name="Arrow: Right 30">
            <a:extLst>
              <a:ext uri="{FF2B5EF4-FFF2-40B4-BE49-F238E27FC236}">
                <a16:creationId xmlns:a16="http://schemas.microsoft.com/office/drawing/2014/main" id="{47D1F3CA-FD48-4591-AFE3-F1D1BFD96991}"/>
              </a:ext>
            </a:extLst>
          </p:cNvPr>
          <p:cNvSpPr/>
          <p:nvPr/>
        </p:nvSpPr>
        <p:spPr>
          <a:xfrm>
            <a:off x="6105881" y="4783748"/>
            <a:ext cx="3007639" cy="257835"/>
          </a:xfrm>
          <a:prstGeom prst="rightArrow">
            <a:avLst>
              <a:gd name="adj1" fmla="val 100000"/>
              <a:gd name="adj2" fmla="val 40898"/>
            </a:avLst>
          </a:prstGeom>
          <a:solidFill>
            <a:srgbClr val="3B87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i="1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orem ipsum</a:t>
            </a:r>
          </a:p>
        </p:txBody>
      </p:sp>
      <p:sp>
        <p:nvSpPr>
          <p:cNvPr id="34" name="Arrow: Right 33">
            <a:extLst>
              <a:ext uri="{FF2B5EF4-FFF2-40B4-BE49-F238E27FC236}">
                <a16:creationId xmlns:a16="http://schemas.microsoft.com/office/drawing/2014/main" id="{EC14C990-C31B-42D4-B047-32E7F40CA221}"/>
              </a:ext>
            </a:extLst>
          </p:cNvPr>
          <p:cNvSpPr/>
          <p:nvPr/>
        </p:nvSpPr>
        <p:spPr>
          <a:xfrm>
            <a:off x="7835621" y="5228248"/>
            <a:ext cx="3007639" cy="257835"/>
          </a:xfrm>
          <a:prstGeom prst="rightArrow">
            <a:avLst>
              <a:gd name="adj1" fmla="val 100000"/>
              <a:gd name="adj2" fmla="val 40898"/>
            </a:avLst>
          </a:prstGeom>
          <a:solidFill>
            <a:srgbClr val="3B87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i="1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orem ipsum</a:t>
            </a:r>
          </a:p>
        </p:txBody>
      </p:sp>
      <p:sp>
        <p:nvSpPr>
          <p:cNvPr id="35" name="Arrow: Right 34">
            <a:extLst>
              <a:ext uri="{FF2B5EF4-FFF2-40B4-BE49-F238E27FC236}">
                <a16:creationId xmlns:a16="http://schemas.microsoft.com/office/drawing/2014/main" id="{42AB3D98-53F9-496C-BDCB-CE4435EFA472}"/>
              </a:ext>
            </a:extLst>
          </p:cNvPr>
          <p:cNvSpPr/>
          <p:nvPr/>
        </p:nvSpPr>
        <p:spPr>
          <a:xfrm>
            <a:off x="7835621" y="5660048"/>
            <a:ext cx="3700893" cy="257835"/>
          </a:xfrm>
          <a:prstGeom prst="rightArrow">
            <a:avLst>
              <a:gd name="adj1" fmla="val 100000"/>
              <a:gd name="adj2" fmla="val 40898"/>
            </a:avLst>
          </a:prstGeom>
          <a:solidFill>
            <a:srgbClr val="295E7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i="1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orem ipsum</a:t>
            </a:r>
          </a:p>
        </p:txBody>
      </p:sp>
    </p:spTree>
    <p:extLst>
      <p:ext uri="{BB962C8B-B14F-4D97-AF65-F5344CB8AC3E}">
        <p14:creationId xmlns:p14="http://schemas.microsoft.com/office/powerpoint/2010/main" val="189626695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F3E0586F-340F-49FE-84F5-369BDAC0459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060058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7"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1CEC6E5C-FABE-4D2A-BCF6-186FB39C2EF0}"/>
              </a:ext>
            </a:extLst>
          </p:cNvPr>
          <p:cNvSpPr/>
          <p:nvPr/>
        </p:nvSpPr>
        <p:spPr>
          <a:xfrm rot="16200000">
            <a:off x="142754" y="1400485"/>
            <a:ext cx="1371600" cy="537029"/>
          </a:xfrm>
          <a:prstGeom prst="roundRect">
            <a:avLst>
              <a:gd name="adj" fmla="val 0"/>
            </a:avLst>
          </a:prstGeom>
          <a:solidFill>
            <a:schemeClr val="tx1">
              <a:lumMod val="85000"/>
              <a:lumOff val="1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400" b="1" dirty="0">
                <a:latin typeface="Segoe UI Light" panose="020B0502040204020203" pitchFamily="34" charset="0"/>
                <a:cs typeface="Segoe UI Light" panose="020B0502040204020203" pitchFamily="34" charset="0"/>
              </a:rPr>
              <a:t>Papers</a:t>
            </a:r>
            <a:endParaRPr lang="en-US" sz="1400" b="1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94A4458E-9DEA-48F2-85F6-678789D7F5A0}"/>
              </a:ext>
            </a:extLst>
          </p:cNvPr>
          <p:cNvSpPr/>
          <p:nvPr/>
        </p:nvSpPr>
        <p:spPr>
          <a:xfrm rot="16200000">
            <a:off x="146957" y="2772084"/>
            <a:ext cx="1371600" cy="537029"/>
          </a:xfrm>
          <a:prstGeom prst="roundRect">
            <a:avLst>
              <a:gd name="adj" fmla="val 0"/>
            </a:avLst>
          </a:prstGeom>
          <a:solidFill>
            <a:schemeClr val="tx1">
              <a:lumMod val="85000"/>
              <a:lumOff val="1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400" b="1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Grants</a:t>
            </a:r>
            <a:endParaRPr lang="en-US" sz="1400" b="1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1FCC8942-D8B9-492E-9E50-00DD0E9B47B1}"/>
              </a:ext>
            </a:extLst>
          </p:cNvPr>
          <p:cNvSpPr/>
          <p:nvPr/>
        </p:nvSpPr>
        <p:spPr>
          <a:xfrm rot="16200000">
            <a:off x="146957" y="4143685"/>
            <a:ext cx="1371600" cy="537029"/>
          </a:xfrm>
          <a:prstGeom prst="roundRect">
            <a:avLst>
              <a:gd name="adj" fmla="val 0"/>
            </a:avLst>
          </a:prstGeom>
          <a:solidFill>
            <a:schemeClr val="tx1">
              <a:lumMod val="85000"/>
              <a:lumOff val="1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400" b="1" dirty="0">
                <a:latin typeface="Segoe UI Light" panose="020B0502040204020203" pitchFamily="34" charset="0"/>
                <a:cs typeface="Segoe UI Light" panose="020B0502040204020203" pitchFamily="34" charset="0"/>
              </a:rPr>
              <a:t>Milestones</a:t>
            </a:r>
            <a:endParaRPr lang="en-US" sz="1400" b="1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6CC0121F-69AC-4DBA-955F-90F92CFE0A6F}"/>
              </a:ext>
            </a:extLst>
          </p:cNvPr>
          <p:cNvSpPr/>
          <p:nvPr/>
        </p:nvSpPr>
        <p:spPr>
          <a:xfrm rot="16200000">
            <a:off x="146956" y="5528923"/>
            <a:ext cx="1371600" cy="537029"/>
          </a:xfrm>
          <a:prstGeom prst="roundRect">
            <a:avLst>
              <a:gd name="adj" fmla="val 0"/>
            </a:avLst>
          </a:prstGeom>
          <a:solidFill>
            <a:schemeClr val="tx1">
              <a:lumMod val="85000"/>
              <a:lumOff val="1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400" b="1" dirty="0">
                <a:latin typeface="Segoe UI Light" panose="020B0502040204020203" pitchFamily="34" charset="0"/>
                <a:cs typeface="Segoe UI Light" panose="020B0502040204020203" pitchFamily="34" charset="0"/>
              </a:rPr>
              <a:t>Trainings</a:t>
            </a:r>
            <a:endParaRPr lang="en-US" sz="1400" b="1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8F416EF6-E41A-4740-88FF-FE9E876CD922}"/>
              </a:ext>
            </a:extLst>
          </p:cNvPr>
          <p:cNvGrpSpPr/>
          <p:nvPr/>
        </p:nvGrpSpPr>
        <p:grpSpPr>
          <a:xfrm>
            <a:off x="1125763" y="430710"/>
            <a:ext cx="6629058" cy="538851"/>
            <a:chOff x="2301241" y="1431471"/>
            <a:chExt cx="7748369" cy="537029"/>
          </a:xfrm>
        </p:grpSpPr>
        <p:sp>
          <p:nvSpPr>
            <p:cNvPr id="12" name="Rectangle: Rounded Corners 11">
              <a:extLst>
                <a:ext uri="{FF2B5EF4-FFF2-40B4-BE49-F238E27FC236}">
                  <a16:creationId xmlns:a16="http://schemas.microsoft.com/office/drawing/2014/main" id="{DD3587CD-50AD-475A-B3E3-C9D330B87519}"/>
                </a:ext>
              </a:extLst>
            </p:cNvPr>
            <p:cNvSpPr/>
            <p:nvPr/>
          </p:nvSpPr>
          <p:spPr>
            <a:xfrm>
              <a:off x="2301241" y="1431471"/>
              <a:ext cx="7624440" cy="537029"/>
            </a:xfrm>
            <a:prstGeom prst="rect">
              <a:avLst/>
            </a:prstGeom>
            <a:solidFill>
              <a:srgbClr val="DE4D1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/>
            </a:p>
          </p:txBody>
        </p:sp>
        <p:sp>
          <p:nvSpPr>
            <p:cNvPr id="13" name="Rectangle: Rounded Corners 12">
              <a:extLst>
                <a:ext uri="{FF2B5EF4-FFF2-40B4-BE49-F238E27FC236}">
                  <a16:creationId xmlns:a16="http://schemas.microsoft.com/office/drawing/2014/main" id="{CB43EEF5-FBE8-4085-9E21-15A07D9384E8}"/>
                </a:ext>
              </a:extLst>
            </p:cNvPr>
            <p:cNvSpPr/>
            <p:nvPr/>
          </p:nvSpPr>
          <p:spPr>
            <a:xfrm>
              <a:off x="2305050" y="1536155"/>
              <a:ext cx="1520821" cy="32766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a-DK" sz="1600" b="1" dirty="0">
                  <a:latin typeface="Segoe UI" panose="020B0502040204020203" pitchFamily="34" charset="0"/>
                  <a:cs typeface="Segoe UI" panose="020B0502040204020203" pitchFamily="34" charset="0"/>
                </a:rPr>
                <a:t>Summer</a:t>
              </a:r>
              <a:endParaRPr lang="en-US" sz="1600" b="1" dirty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4" name="Rectangle: Rounded Corners 13">
              <a:extLst>
                <a:ext uri="{FF2B5EF4-FFF2-40B4-BE49-F238E27FC236}">
                  <a16:creationId xmlns:a16="http://schemas.microsoft.com/office/drawing/2014/main" id="{C8DD857A-CB38-4572-9AA9-36758F70DD49}"/>
                </a:ext>
              </a:extLst>
            </p:cNvPr>
            <p:cNvSpPr/>
            <p:nvPr/>
          </p:nvSpPr>
          <p:spPr>
            <a:xfrm>
              <a:off x="3500567" y="1548905"/>
              <a:ext cx="1520821" cy="32766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a-DK" sz="1600" b="1" dirty="0">
                  <a:latin typeface="Segoe UI" panose="020B0502040204020203" pitchFamily="34" charset="0"/>
                  <a:cs typeface="Segoe UI" panose="020B0502040204020203" pitchFamily="34" charset="0"/>
                </a:rPr>
                <a:t>Fall</a:t>
              </a:r>
              <a:endParaRPr lang="en-US" sz="1600" b="1" dirty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5" name="Rectangle: Rounded Corners 14">
              <a:extLst>
                <a:ext uri="{FF2B5EF4-FFF2-40B4-BE49-F238E27FC236}">
                  <a16:creationId xmlns:a16="http://schemas.microsoft.com/office/drawing/2014/main" id="{6E3AE42D-9CA1-4ADB-B9CD-39D669E896D5}"/>
                </a:ext>
              </a:extLst>
            </p:cNvPr>
            <p:cNvSpPr/>
            <p:nvPr/>
          </p:nvSpPr>
          <p:spPr>
            <a:xfrm>
              <a:off x="5979087" y="1536155"/>
              <a:ext cx="1520821" cy="32766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a-DK" sz="1600" b="1" dirty="0">
                  <a:latin typeface="Segoe UI" panose="020B0502040204020203" pitchFamily="34" charset="0"/>
                  <a:cs typeface="Segoe UI" panose="020B0502040204020203" pitchFamily="34" charset="0"/>
                </a:rPr>
                <a:t>Spring</a:t>
              </a:r>
              <a:endParaRPr lang="en-US" sz="1600" b="1" dirty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6" name="Rectangle: Rounded Corners 15">
              <a:extLst>
                <a:ext uri="{FF2B5EF4-FFF2-40B4-BE49-F238E27FC236}">
                  <a16:creationId xmlns:a16="http://schemas.microsoft.com/office/drawing/2014/main" id="{87465A99-E7D1-472E-8A4B-0645D9F27B69}"/>
                </a:ext>
              </a:extLst>
            </p:cNvPr>
            <p:cNvSpPr/>
            <p:nvPr/>
          </p:nvSpPr>
          <p:spPr>
            <a:xfrm>
              <a:off x="7321591" y="1536155"/>
              <a:ext cx="1520822" cy="32766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a-DK" sz="1600" b="1" dirty="0">
                  <a:latin typeface="Segoe UI" panose="020B0502040204020203" pitchFamily="34" charset="0"/>
                  <a:cs typeface="Segoe UI" panose="020B0502040204020203" pitchFamily="34" charset="0"/>
                </a:rPr>
                <a:t>Summer</a:t>
              </a:r>
              <a:endParaRPr lang="en-US" sz="1600" b="1" dirty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7" name="Rectangle: Rounded Corners 16">
              <a:extLst>
                <a:ext uri="{FF2B5EF4-FFF2-40B4-BE49-F238E27FC236}">
                  <a16:creationId xmlns:a16="http://schemas.microsoft.com/office/drawing/2014/main" id="{4D4C7AB5-20B7-44C1-BCC7-19B0E63114E6}"/>
                </a:ext>
              </a:extLst>
            </p:cNvPr>
            <p:cNvSpPr/>
            <p:nvPr/>
          </p:nvSpPr>
          <p:spPr>
            <a:xfrm>
              <a:off x="8528789" y="1536155"/>
              <a:ext cx="1520821" cy="32766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a-DK" sz="1600" b="1" dirty="0">
                  <a:latin typeface="Segoe UI" panose="020B0502040204020203" pitchFamily="34" charset="0"/>
                  <a:cs typeface="Segoe UI" panose="020B0502040204020203" pitchFamily="34" charset="0"/>
                </a:rPr>
                <a:t>Fall</a:t>
              </a:r>
              <a:endParaRPr lang="en-US" sz="1600" b="1" dirty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3FBE47FA-CA76-4E2B-910B-318AE72B6AEE}"/>
                </a:ext>
              </a:extLst>
            </p:cNvPr>
            <p:cNvGrpSpPr/>
            <p:nvPr/>
          </p:nvGrpSpPr>
          <p:grpSpPr>
            <a:xfrm>
              <a:off x="3683369" y="1517150"/>
              <a:ext cx="5050201" cy="365671"/>
              <a:chOff x="3683369" y="-558800"/>
              <a:chExt cx="5050201" cy="7924800"/>
            </a:xfrm>
          </p:grpSpPr>
          <p:cxnSp>
            <p:nvCxnSpPr>
              <p:cNvPr id="20" name="Straight Connector 19">
                <a:extLst>
                  <a:ext uri="{FF2B5EF4-FFF2-40B4-BE49-F238E27FC236}">
                    <a16:creationId xmlns:a16="http://schemas.microsoft.com/office/drawing/2014/main" id="{8A881D11-1492-4DCE-8E17-C1F1EDF6FAD4}"/>
                  </a:ext>
                </a:extLst>
              </p:cNvPr>
              <p:cNvCxnSpPr/>
              <p:nvPr/>
            </p:nvCxnSpPr>
            <p:spPr>
              <a:xfrm>
                <a:off x="3683369" y="-558800"/>
                <a:ext cx="0" cy="7924800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Straight Connector 20">
                <a:extLst>
                  <a:ext uri="{FF2B5EF4-FFF2-40B4-BE49-F238E27FC236}">
                    <a16:creationId xmlns:a16="http://schemas.microsoft.com/office/drawing/2014/main" id="{14DA6F34-42FF-48AA-B375-4CCA70580DD2}"/>
                  </a:ext>
                </a:extLst>
              </p:cNvPr>
              <p:cNvCxnSpPr/>
              <p:nvPr/>
            </p:nvCxnSpPr>
            <p:spPr>
              <a:xfrm>
                <a:off x="6116232" y="-558800"/>
                <a:ext cx="0" cy="7924800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Straight Connector 21">
                <a:extLst>
                  <a:ext uri="{FF2B5EF4-FFF2-40B4-BE49-F238E27FC236}">
                    <a16:creationId xmlns:a16="http://schemas.microsoft.com/office/drawing/2014/main" id="{FE6FD16E-0191-4E2B-B763-DB93055A4FFB}"/>
                  </a:ext>
                </a:extLst>
              </p:cNvPr>
              <p:cNvCxnSpPr/>
              <p:nvPr/>
            </p:nvCxnSpPr>
            <p:spPr>
              <a:xfrm>
                <a:off x="8733570" y="-558800"/>
                <a:ext cx="0" cy="7924800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Straight Connector 23">
                <a:extLst>
                  <a:ext uri="{FF2B5EF4-FFF2-40B4-BE49-F238E27FC236}">
                    <a16:creationId xmlns:a16="http://schemas.microsoft.com/office/drawing/2014/main" id="{259FFA2E-DF41-445E-851F-4E65BD4B8AE1}"/>
                  </a:ext>
                </a:extLst>
              </p:cNvPr>
              <p:cNvCxnSpPr/>
              <p:nvPr/>
            </p:nvCxnSpPr>
            <p:spPr>
              <a:xfrm>
                <a:off x="7352045" y="-558800"/>
                <a:ext cx="0" cy="7924800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7" name="Arrow: Pentagon 26">
            <a:extLst>
              <a:ext uri="{FF2B5EF4-FFF2-40B4-BE49-F238E27FC236}">
                <a16:creationId xmlns:a16="http://schemas.microsoft.com/office/drawing/2014/main" id="{85AD7526-C978-45DB-A1EE-7F612A7DACC2}"/>
              </a:ext>
            </a:extLst>
          </p:cNvPr>
          <p:cNvSpPr/>
          <p:nvPr/>
        </p:nvSpPr>
        <p:spPr>
          <a:xfrm>
            <a:off x="1229218" y="1264401"/>
            <a:ext cx="1079012" cy="879527"/>
          </a:xfrm>
          <a:prstGeom prst="homePlate">
            <a:avLst/>
          </a:prstGeom>
          <a:solidFill>
            <a:srgbClr val="77831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i="1" dirty="0">
                <a:latin typeface="Segoe UI Light" panose="020B0502040204020203" pitchFamily="34" charset="0"/>
                <a:cs typeface="Segoe UI Light" panose="020B0502040204020203" pitchFamily="34" charset="0"/>
              </a:rPr>
              <a:t>Neuron Mapping</a:t>
            </a:r>
          </a:p>
        </p:txBody>
      </p:sp>
      <p:sp>
        <p:nvSpPr>
          <p:cNvPr id="28" name="Arrow: Pentagon 27">
            <a:extLst>
              <a:ext uri="{FF2B5EF4-FFF2-40B4-BE49-F238E27FC236}">
                <a16:creationId xmlns:a16="http://schemas.microsoft.com/office/drawing/2014/main" id="{AAF8E68A-58BF-4873-A0A1-394D0EA522EE}"/>
              </a:ext>
            </a:extLst>
          </p:cNvPr>
          <p:cNvSpPr/>
          <p:nvPr/>
        </p:nvSpPr>
        <p:spPr>
          <a:xfrm>
            <a:off x="1229217" y="2607312"/>
            <a:ext cx="1079016" cy="877824"/>
          </a:xfrm>
          <a:prstGeom prst="homePlate">
            <a:avLst/>
          </a:prstGeom>
          <a:solidFill>
            <a:srgbClr val="3B87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i="1" dirty="0">
                <a:latin typeface="Segoe UI Light" panose="020B0502040204020203" pitchFamily="34" charset="0"/>
                <a:cs typeface="Segoe UI Light" panose="020B0502040204020203" pitchFamily="34" charset="0"/>
              </a:rPr>
              <a:t>-NIH NRSA</a:t>
            </a:r>
          </a:p>
          <a:p>
            <a:pPr algn="ctr"/>
            <a:r>
              <a:rPr lang="en-US" sz="1400" i="1" dirty="0">
                <a:latin typeface="Segoe UI Light" panose="020B0502040204020203" pitchFamily="34" charset="0"/>
                <a:cs typeface="Segoe UI Light" panose="020B0502040204020203" pitchFamily="34" charset="0"/>
              </a:rPr>
              <a:t>-Siebel</a:t>
            </a:r>
          </a:p>
        </p:txBody>
      </p:sp>
      <p:sp>
        <p:nvSpPr>
          <p:cNvPr id="29" name="Arrow: Pentagon 28">
            <a:extLst>
              <a:ext uri="{FF2B5EF4-FFF2-40B4-BE49-F238E27FC236}">
                <a16:creationId xmlns:a16="http://schemas.microsoft.com/office/drawing/2014/main" id="{4BB60E96-AF3A-40BC-8D37-A51DEB859D29}"/>
              </a:ext>
            </a:extLst>
          </p:cNvPr>
          <p:cNvSpPr/>
          <p:nvPr/>
        </p:nvSpPr>
        <p:spPr>
          <a:xfrm>
            <a:off x="5446939" y="3974232"/>
            <a:ext cx="1181953" cy="877824"/>
          </a:xfrm>
          <a:prstGeom prst="homePlate">
            <a:avLst/>
          </a:prstGeom>
          <a:solidFill>
            <a:srgbClr val="77831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i="1" dirty="0">
                <a:latin typeface="Segoe UI Light" panose="020B0502040204020203" pitchFamily="34" charset="0"/>
                <a:cs typeface="Segoe UI Light" panose="020B0502040204020203" pitchFamily="34" charset="0"/>
              </a:rPr>
              <a:t>Research Defense</a:t>
            </a:r>
          </a:p>
        </p:txBody>
      </p:sp>
      <p:sp>
        <p:nvSpPr>
          <p:cNvPr id="30" name="Arrow: Pentagon 29">
            <a:extLst>
              <a:ext uri="{FF2B5EF4-FFF2-40B4-BE49-F238E27FC236}">
                <a16:creationId xmlns:a16="http://schemas.microsoft.com/office/drawing/2014/main" id="{7365FFA6-D700-4F0F-83DB-56C78FFC460C}"/>
              </a:ext>
            </a:extLst>
          </p:cNvPr>
          <p:cNvSpPr/>
          <p:nvPr/>
        </p:nvSpPr>
        <p:spPr>
          <a:xfrm>
            <a:off x="2308230" y="5358525"/>
            <a:ext cx="5340563" cy="877824"/>
          </a:xfrm>
          <a:prstGeom prst="homePlate">
            <a:avLst/>
          </a:prstGeom>
          <a:solidFill>
            <a:srgbClr val="3B87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i="1" dirty="0">
                <a:latin typeface="Segoe UI Light" panose="020B0502040204020203" pitchFamily="34" charset="0"/>
                <a:cs typeface="Segoe UI Light" panose="020B0502040204020203" pitchFamily="34" charset="0"/>
              </a:rPr>
              <a:t>JHU Teaching Academy Certificate</a:t>
            </a:r>
          </a:p>
        </p:txBody>
      </p: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914B3DD7-E8D3-411F-AAB4-CFEC8E0619A8}"/>
              </a:ext>
            </a:extLst>
          </p:cNvPr>
          <p:cNvCxnSpPr>
            <a:cxnSpLocks/>
          </p:cNvCxnSpPr>
          <p:nvPr/>
        </p:nvCxnSpPr>
        <p:spPr>
          <a:xfrm>
            <a:off x="1125763" y="2354798"/>
            <a:ext cx="6523030" cy="0"/>
          </a:xfrm>
          <a:prstGeom prst="line">
            <a:avLst/>
          </a:prstGeom>
          <a:ln w="9525">
            <a:solidFill>
              <a:schemeClr val="bg1">
                <a:lumMod val="8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0F478058-EC6E-494C-9324-5B9C6B9144C9}"/>
              </a:ext>
            </a:extLst>
          </p:cNvPr>
          <p:cNvCxnSpPr>
            <a:cxnSpLocks/>
          </p:cNvCxnSpPr>
          <p:nvPr/>
        </p:nvCxnSpPr>
        <p:spPr>
          <a:xfrm flipV="1">
            <a:off x="1101271" y="3726399"/>
            <a:ext cx="6519672" cy="2387"/>
          </a:xfrm>
          <a:prstGeom prst="line">
            <a:avLst/>
          </a:prstGeom>
          <a:ln w="9525">
            <a:solidFill>
              <a:schemeClr val="bg1">
                <a:lumMod val="8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5C593A9D-A8DD-46A9-8C6C-8B440250D7CB}"/>
              </a:ext>
            </a:extLst>
          </p:cNvPr>
          <p:cNvCxnSpPr>
            <a:cxnSpLocks/>
          </p:cNvCxnSpPr>
          <p:nvPr/>
        </p:nvCxnSpPr>
        <p:spPr>
          <a:xfrm>
            <a:off x="1125763" y="5098000"/>
            <a:ext cx="6519672" cy="0"/>
          </a:xfrm>
          <a:prstGeom prst="line">
            <a:avLst/>
          </a:prstGeom>
          <a:ln w="9525">
            <a:solidFill>
              <a:schemeClr val="bg1">
                <a:lumMod val="8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DEE58FF3-9B84-49CC-BD15-8603F5D40B61}"/>
              </a:ext>
            </a:extLst>
          </p:cNvPr>
          <p:cNvCxnSpPr>
            <a:cxnSpLocks/>
          </p:cNvCxnSpPr>
          <p:nvPr/>
        </p:nvCxnSpPr>
        <p:spPr>
          <a:xfrm>
            <a:off x="1101271" y="6469599"/>
            <a:ext cx="6519672" cy="0"/>
          </a:xfrm>
          <a:prstGeom prst="line">
            <a:avLst/>
          </a:prstGeom>
          <a:ln w="9525">
            <a:solidFill>
              <a:schemeClr val="bg1">
                <a:lumMod val="8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Arrow: Pentagon 26">
            <a:extLst>
              <a:ext uri="{FF2B5EF4-FFF2-40B4-BE49-F238E27FC236}">
                <a16:creationId xmlns:a16="http://schemas.microsoft.com/office/drawing/2014/main" id="{9FD81E93-BF90-5FE2-989A-982ACFDDD943}"/>
              </a:ext>
            </a:extLst>
          </p:cNvPr>
          <p:cNvSpPr/>
          <p:nvPr/>
        </p:nvSpPr>
        <p:spPr>
          <a:xfrm>
            <a:off x="2308231" y="1264406"/>
            <a:ext cx="2081417" cy="879527"/>
          </a:xfrm>
          <a:prstGeom prst="homePlate">
            <a:avLst/>
          </a:prstGeom>
          <a:solidFill>
            <a:srgbClr val="77831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i="1" dirty="0">
                <a:latin typeface="Segoe UI Light" panose="020B0502040204020203" pitchFamily="34" charset="0"/>
                <a:cs typeface="Segoe UI Light" panose="020B0502040204020203" pitchFamily="34" charset="0"/>
              </a:rPr>
              <a:t>-Whole-brain tracing</a:t>
            </a:r>
          </a:p>
          <a:p>
            <a:pPr algn="ctr"/>
            <a:r>
              <a:rPr lang="en-US" sz="1400" i="1" dirty="0">
                <a:latin typeface="Segoe UI Light" panose="020B0502040204020203" pitchFamily="34" charset="0"/>
                <a:cs typeface="Segoe UI Light" panose="020B0502040204020203" pitchFamily="34" charset="0"/>
              </a:rPr>
              <a:t>-Serotonin Connectivity Subtypes</a:t>
            </a:r>
          </a:p>
        </p:txBody>
      </p:sp>
      <p:sp>
        <p:nvSpPr>
          <p:cNvPr id="40" name="Arrow: Pentagon 28">
            <a:extLst>
              <a:ext uri="{FF2B5EF4-FFF2-40B4-BE49-F238E27FC236}">
                <a16:creationId xmlns:a16="http://schemas.microsoft.com/office/drawing/2014/main" id="{9F42507A-46C9-BF00-76D5-954D83D445D4}"/>
              </a:ext>
            </a:extLst>
          </p:cNvPr>
          <p:cNvSpPr/>
          <p:nvPr/>
        </p:nvSpPr>
        <p:spPr>
          <a:xfrm>
            <a:off x="6628893" y="3980107"/>
            <a:ext cx="1301126" cy="877824"/>
          </a:xfrm>
          <a:prstGeom prst="homePlate">
            <a:avLst/>
          </a:prstGeom>
          <a:solidFill>
            <a:srgbClr val="77831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i="1" dirty="0">
                <a:latin typeface="Segoe UI Light" panose="020B0502040204020203" pitchFamily="34" charset="0"/>
                <a:cs typeface="Segoe UI Light" panose="020B0502040204020203" pitchFamily="34" charset="0"/>
              </a:rPr>
              <a:t>Public Dissertation Defense</a:t>
            </a:r>
          </a:p>
        </p:txBody>
      </p:sp>
      <p:sp>
        <p:nvSpPr>
          <p:cNvPr id="41" name="Arrow: Pentagon 26">
            <a:extLst>
              <a:ext uri="{FF2B5EF4-FFF2-40B4-BE49-F238E27FC236}">
                <a16:creationId xmlns:a16="http://schemas.microsoft.com/office/drawing/2014/main" id="{E6E0BBEB-FA9D-D66E-C54C-98EA090D9A78}"/>
              </a:ext>
            </a:extLst>
          </p:cNvPr>
          <p:cNvSpPr/>
          <p:nvPr/>
        </p:nvSpPr>
        <p:spPr>
          <a:xfrm>
            <a:off x="4389649" y="1269288"/>
            <a:ext cx="2239244" cy="879527"/>
          </a:xfrm>
          <a:prstGeom prst="homePlate">
            <a:avLst/>
          </a:prstGeom>
          <a:solidFill>
            <a:srgbClr val="77831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i="1" dirty="0">
                <a:latin typeface="Segoe UI Light" panose="020B0502040204020203" pitchFamily="34" charset="0"/>
                <a:cs typeface="Segoe UI Light" panose="020B0502040204020203" pitchFamily="34" charset="0"/>
              </a:rPr>
              <a:t>Effect of Yap on morphology</a:t>
            </a:r>
          </a:p>
        </p:txBody>
      </p:sp>
      <p:sp>
        <p:nvSpPr>
          <p:cNvPr id="31" name="Rectangle: Rounded Corners 14">
            <a:extLst>
              <a:ext uri="{FF2B5EF4-FFF2-40B4-BE49-F238E27FC236}">
                <a16:creationId xmlns:a16="http://schemas.microsoft.com/office/drawing/2014/main" id="{345B6426-FD95-ADD5-D6AC-D2F503B6BAC2}"/>
              </a:ext>
            </a:extLst>
          </p:cNvPr>
          <p:cNvSpPr/>
          <p:nvPr/>
        </p:nvSpPr>
        <p:spPr>
          <a:xfrm>
            <a:off x="3239446" y="554939"/>
            <a:ext cx="1301127" cy="32877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600" b="1" dirty="0">
                <a:latin typeface="Segoe UI" panose="020B0502040204020203" pitchFamily="34" charset="0"/>
                <a:cs typeface="Segoe UI" panose="020B0502040204020203" pitchFamily="34" charset="0"/>
              </a:rPr>
              <a:t>Winter</a:t>
            </a:r>
            <a:endParaRPr lang="en-US" sz="1600" b="1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F36C85E5-7444-7A6E-4656-CBFDD61C1D99}"/>
              </a:ext>
            </a:extLst>
          </p:cNvPr>
          <p:cNvCxnSpPr/>
          <p:nvPr/>
        </p:nvCxnSpPr>
        <p:spPr>
          <a:xfrm>
            <a:off x="3335042" y="510402"/>
            <a:ext cx="0" cy="366912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2549981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53346D2-06D3-49CE-B333-943AA279E41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435114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1"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6" name="Table 8">
            <a:extLst>
              <a:ext uri="{FF2B5EF4-FFF2-40B4-BE49-F238E27FC236}">
                <a16:creationId xmlns:a16="http://schemas.microsoft.com/office/drawing/2014/main" id="{969C0188-0D37-4105-B325-0815C96A9E67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330702855"/>
              </p:ext>
            </p:extLst>
          </p:nvPr>
        </p:nvGraphicFramePr>
        <p:xfrm>
          <a:off x="556623" y="1898810"/>
          <a:ext cx="5989320" cy="429826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22234">
                  <a:extLst>
                    <a:ext uri="{9D8B030D-6E8A-4147-A177-3AD203B41FA5}">
                      <a16:colId xmlns:a16="http://schemas.microsoft.com/office/drawing/2014/main" val="56068457"/>
                    </a:ext>
                  </a:extLst>
                </a:gridCol>
                <a:gridCol w="1573494">
                  <a:extLst>
                    <a:ext uri="{9D8B030D-6E8A-4147-A177-3AD203B41FA5}">
                      <a16:colId xmlns:a16="http://schemas.microsoft.com/office/drawing/2014/main" val="1116672077"/>
                    </a:ext>
                  </a:extLst>
                </a:gridCol>
                <a:gridCol w="1197864">
                  <a:extLst>
                    <a:ext uri="{9D8B030D-6E8A-4147-A177-3AD203B41FA5}">
                      <a16:colId xmlns:a16="http://schemas.microsoft.com/office/drawing/2014/main" val="806939660"/>
                    </a:ext>
                  </a:extLst>
                </a:gridCol>
                <a:gridCol w="1197864">
                  <a:extLst>
                    <a:ext uri="{9D8B030D-6E8A-4147-A177-3AD203B41FA5}">
                      <a16:colId xmlns:a16="http://schemas.microsoft.com/office/drawing/2014/main" val="559331030"/>
                    </a:ext>
                  </a:extLst>
                </a:gridCol>
                <a:gridCol w="1197864">
                  <a:extLst>
                    <a:ext uri="{9D8B030D-6E8A-4147-A177-3AD203B41FA5}">
                      <a16:colId xmlns:a16="http://schemas.microsoft.com/office/drawing/2014/main" val="639162654"/>
                    </a:ext>
                  </a:extLst>
                </a:gridCol>
              </a:tblGrid>
              <a:tr h="500873">
                <a:tc>
                  <a:txBody>
                    <a:bodyPr/>
                    <a:lstStyle/>
                    <a:p>
                      <a:endParaRPr lang="en-US" sz="14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B w="38100" cmpd="sng"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Lorem ipsum</a:t>
                      </a:r>
                    </a:p>
                  </a:txBody>
                  <a:tcPr marL="36000" marR="36000" marT="0" marB="0" anchor="ctr">
                    <a:lnB w="38100" cmpd="sng">
                      <a:noFill/>
                    </a:lnB>
                    <a:solidFill>
                      <a:srgbClr val="A6B72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Lorem</a:t>
                      </a:r>
                    </a:p>
                  </a:txBody>
                  <a:tcPr marL="36000" marR="36000" marT="0" marB="0" anchor="ctr">
                    <a:lnB w="38100" cmpd="sng">
                      <a:noFill/>
                    </a:lnB>
                    <a:solidFill>
                      <a:srgbClr val="A6B72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Lorem</a:t>
                      </a:r>
                    </a:p>
                  </a:txBody>
                  <a:tcPr marL="36000" marR="36000" marT="0" marB="0" anchor="ctr">
                    <a:lnB w="38100" cmpd="sng">
                      <a:noFill/>
                    </a:lnB>
                    <a:solidFill>
                      <a:srgbClr val="A6B72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Lorem</a:t>
                      </a:r>
                    </a:p>
                  </a:txBody>
                  <a:tcPr marL="36000" marR="36000" marT="0" marB="0" anchor="ctr">
                    <a:lnB w="38100" cmpd="sng">
                      <a:noFill/>
                    </a:lnB>
                    <a:solidFill>
                      <a:srgbClr val="A6B72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0249303"/>
                  </a:ext>
                </a:extLst>
              </a:tr>
              <a:tr h="603889">
                <a:tc>
                  <a:txBody>
                    <a:bodyPr/>
                    <a:lstStyle/>
                    <a:p>
                      <a:endParaRPr lang="en-US" sz="14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i="0" dirty="0">
                          <a:solidFill>
                            <a:schemeClr val="tx1"/>
                          </a:solidFill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Lorem ipsum</a:t>
                      </a:r>
                    </a:p>
                  </a:txBody>
                  <a:tcPr marL="108000" marR="108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xxx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xxx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xxx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59675372"/>
                  </a:ext>
                </a:extLst>
              </a:tr>
              <a:tr h="638700">
                <a:tc>
                  <a:txBody>
                    <a:bodyPr/>
                    <a:lstStyle/>
                    <a:p>
                      <a:endParaRPr lang="en-US" sz="14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i="0" dirty="0">
                          <a:solidFill>
                            <a:schemeClr val="tx1"/>
                          </a:solidFill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Lorem ipsum</a:t>
                      </a:r>
                    </a:p>
                  </a:txBody>
                  <a:tcPr marL="108000" marR="108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xxx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xxx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xxx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31327981"/>
                  </a:ext>
                </a:extLst>
              </a:tr>
              <a:tr h="638700">
                <a:tc>
                  <a:txBody>
                    <a:bodyPr/>
                    <a:lstStyle/>
                    <a:p>
                      <a:endParaRPr lang="en-US" sz="140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i="0" dirty="0">
                          <a:solidFill>
                            <a:schemeClr val="tx1"/>
                          </a:solidFill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Lorem ipsum</a:t>
                      </a:r>
                    </a:p>
                  </a:txBody>
                  <a:tcPr marL="108000" marR="108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xxx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xxx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xxx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305551"/>
                  </a:ext>
                </a:extLst>
              </a:tr>
              <a:tr h="638700">
                <a:tc>
                  <a:txBody>
                    <a:bodyPr/>
                    <a:lstStyle/>
                    <a:p>
                      <a:endParaRPr lang="en-US" sz="140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i="0" dirty="0">
                          <a:solidFill>
                            <a:schemeClr val="tx1"/>
                          </a:solidFill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Lorem ipsum</a:t>
                      </a:r>
                    </a:p>
                  </a:txBody>
                  <a:tcPr marL="108000" marR="108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xxx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xxx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xxx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705676"/>
                  </a:ext>
                </a:extLst>
              </a:tr>
              <a:tr h="638700">
                <a:tc>
                  <a:txBody>
                    <a:bodyPr/>
                    <a:lstStyle/>
                    <a:p>
                      <a:endParaRPr lang="en-US" sz="140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i="0" dirty="0">
                          <a:solidFill>
                            <a:schemeClr val="tx1"/>
                          </a:solidFill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Lorem ipsum</a:t>
                      </a:r>
                    </a:p>
                  </a:txBody>
                  <a:tcPr marL="108000" marR="108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xxx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xxx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xxx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41551229"/>
                  </a:ext>
                </a:extLst>
              </a:tr>
              <a:tr h="638700">
                <a:tc>
                  <a:txBody>
                    <a:bodyPr/>
                    <a:lstStyle/>
                    <a:p>
                      <a:endParaRPr lang="en-US" sz="140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i="0" dirty="0">
                          <a:solidFill>
                            <a:schemeClr val="tx1"/>
                          </a:solidFill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Lorem ipsum</a:t>
                      </a:r>
                    </a:p>
                  </a:txBody>
                  <a:tcPr marL="108000" marR="108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xxx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xxx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xxx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37476877"/>
                  </a:ext>
                </a:extLst>
              </a:tr>
            </a:tbl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EA93912-7031-464B-B413-FF7B447CDA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en-US" sz="3600" dirty="0"/>
              <a:t>Multiple project timeline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7EFD4D9-B629-47FC-BC5F-DC52843520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13A2AF-9881-47E7-AE38-D70ECBD2298B}" type="slidenum">
              <a:rPr lang="en-US" smtClean="0"/>
              <a:t>9</a:t>
            </a:fld>
            <a:endParaRPr lang="en-US"/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AAEBE088-9B51-406E-886E-429CD7AFFD86}"/>
              </a:ext>
            </a:extLst>
          </p:cNvPr>
          <p:cNvSpPr/>
          <p:nvPr/>
        </p:nvSpPr>
        <p:spPr>
          <a:xfrm rot="16200000">
            <a:off x="181521" y="2711808"/>
            <a:ext cx="1287238" cy="537029"/>
          </a:xfrm>
          <a:prstGeom prst="roundRect">
            <a:avLst>
              <a:gd name="adj" fmla="val 0"/>
            </a:avLst>
          </a:prstGeom>
          <a:solidFill>
            <a:srgbClr val="DE4D1F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b="1" dirty="0">
                <a:latin typeface="Segoe UI Light" panose="020B0502040204020203" pitchFamily="34" charset="0"/>
                <a:cs typeface="Segoe UI Light" panose="020B0502040204020203" pitchFamily="34" charset="0"/>
              </a:rPr>
              <a:t>Lorem</a:t>
            </a:r>
            <a:endParaRPr lang="en-US" b="1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CB3666F2-53D8-4224-83F5-DF7579422C1B}"/>
              </a:ext>
            </a:extLst>
          </p:cNvPr>
          <p:cNvSpPr/>
          <p:nvPr/>
        </p:nvSpPr>
        <p:spPr>
          <a:xfrm rot="16200000">
            <a:off x="914013" y="2512886"/>
            <a:ext cx="643824" cy="290411"/>
          </a:xfrm>
          <a:prstGeom prst="roundRect">
            <a:avLst>
              <a:gd name="adj" fmla="val 0"/>
            </a:avLst>
          </a:prstGeom>
          <a:solidFill>
            <a:srgbClr val="FDD043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400" i="1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orem</a:t>
            </a:r>
            <a:endParaRPr lang="en-US" sz="1400" i="1" dirty="0">
              <a:solidFill>
                <a:schemeClr val="tx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15C25D2D-CBCB-4782-A752-059A77A2E0C4}"/>
              </a:ext>
            </a:extLst>
          </p:cNvPr>
          <p:cNvSpPr/>
          <p:nvPr/>
        </p:nvSpPr>
        <p:spPr>
          <a:xfrm rot="16200000">
            <a:off x="914012" y="3156826"/>
            <a:ext cx="643824" cy="290410"/>
          </a:xfrm>
          <a:prstGeom prst="roundRect">
            <a:avLst>
              <a:gd name="adj" fmla="val 0"/>
            </a:avLst>
          </a:prstGeom>
          <a:solidFill>
            <a:srgbClr val="FDD043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400" i="1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orem</a:t>
            </a:r>
            <a:endParaRPr lang="en-US" sz="1400" i="1" dirty="0">
              <a:solidFill>
                <a:schemeClr val="tx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55D2770C-8A99-49A7-B671-4540E68A0E37}"/>
              </a:ext>
            </a:extLst>
          </p:cNvPr>
          <p:cNvSpPr/>
          <p:nvPr/>
        </p:nvSpPr>
        <p:spPr>
          <a:xfrm rot="16200000">
            <a:off x="914013" y="3800667"/>
            <a:ext cx="643824" cy="290411"/>
          </a:xfrm>
          <a:prstGeom prst="roundRect">
            <a:avLst>
              <a:gd name="adj" fmla="val 0"/>
            </a:avLst>
          </a:prstGeom>
          <a:solidFill>
            <a:srgbClr val="FDD043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400" i="1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orem</a:t>
            </a:r>
            <a:endParaRPr lang="en-US" sz="1400" i="1" dirty="0">
              <a:solidFill>
                <a:schemeClr val="tx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02BD2C7E-9277-4839-A83C-00932F3752ED}"/>
              </a:ext>
            </a:extLst>
          </p:cNvPr>
          <p:cNvSpPr/>
          <p:nvPr/>
        </p:nvSpPr>
        <p:spPr>
          <a:xfrm rot="16200000">
            <a:off x="914012" y="4444607"/>
            <a:ext cx="643824" cy="290410"/>
          </a:xfrm>
          <a:prstGeom prst="roundRect">
            <a:avLst>
              <a:gd name="adj" fmla="val 0"/>
            </a:avLst>
          </a:prstGeom>
          <a:solidFill>
            <a:srgbClr val="FDD043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400" i="1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orem</a:t>
            </a:r>
            <a:endParaRPr lang="en-US" sz="1400" i="1" dirty="0">
              <a:solidFill>
                <a:schemeClr val="tx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B59642C1-594F-4C37-A43C-2FA11C72C883}"/>
              </a:ext>
            </a:extLst>
          </p:cNvPr>
          <p:cNvSpPr/>
          <p:nvPr/>
        </p:nvSpPr>
        <p:spPr>
          <a:xfrm rot="16200000">
            <a:off x="914014" y="5086543"/>
            <a:ext cx="643824" cy="290411"/>
          </a:xfrm>
          <a:prstGeom prst="roundRect">
            <a:avLst>
              <a:gd name="adj" fmla="val 0"/>
            </a:avLst>
          </a:prstGeom>
          <a:solidFill>
            <a:srgbClr val="FDD043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400" i="1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orem</a:t>
            </a:r>
            <a:endParaRPr lang="en-US" sz="1400" i="1" dirty="0">
              <a:solidFill>
                <a:schemeClr val="tx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6467F765-985E-4ABD-84D4-2491897CBB5D}"/>
              </a:ext>
            </a:extLst>
          </p:cNvPr>
          <p:cNvSpPr/>
          <p:nvPr/>
        </p:nvSpPr>
        <p:spPr>
          <a:xfrm rot="16200000">
            <a:off x="914013" y="5730483"/>
            <a:ext cx="643824" cy="290410"/>
          </a:xfrm>
          <a:prstGeom prst="roundRect">
            <a:avLst>
              <a:gd name="adj" fmla="val 0"/>
            </a:avLst>
          </a:prstGeom>
          <a:solidFill>
            <a:srgbClr val="FDD043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400" i="1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orem</a:t>
            </a:r>
            <a:endParaRPr lang="en-US" sz="1400" i="1" dirty="0">
              <a:solidFill>
                <a:schemeClr val="tx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24" name="Rectangle: Rounded Corners 23">
            <a:extLst>
              <a:ext uri="{FF2B5EF4-FFF2-40B4-BE49-F238E27FC236}">
                <a16:creationId xmlns:a16="http://schemas.microsoft.com/office/drawing/2014/main" id="{17D815F9-2205-407D-9057-91BD5CFCE067}"/>
              </a:ext>
            </a:extLst>
          </p:cNvPr>
          <p:cNvSpPr/>
          <p:nvPr/>
        </p:nvSpPr>
        <p:spPr>
          <a:xfrm rot="16200000">
            <a:off x="181520" y="3998374"/>
            <a:ext cx="1287238" cy="537029"/>
          </a:xfrm>
          <a:prstGeom prst="roundRect">
            <a:avLst>
              <a:gd name="adj" fmla="val 0"/>
            </a:avLst>
          </a:prstGeom>
          <a:solidFill>
            <a:srgbClr val="DE4D1F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b="1" dirty="0">
                <a:latin typeface="Segoe UI Light" panose="020B0502040204020203" pitchFamily="34" charset="0"/>
                <a:cs typeface="Segoe UI Light" panose="020B0502040204020203" pitchFamily="34" charset="0"/>
              </a:rPr>
              <a:t>Lorem</a:t>
            </a:r>
            <a:endParaRPr lang="en-US" b="1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F652FC56-44E3-4F8D-B090-C226529BBD09}"/>
              </a:ext>
            </a:extLst>
          </p:cNvPr>
          <p:cNvSpPr/>
          <p:nvPr/>
        </p:nvSpPr>
        <p:spPr>
          <a:xfrm rot="16200000">
            <a:off x="181521" y="5284940"/>
            <a:ext cx="1287238" cy="537029"/>
          </a:xfrm>
          <a:prstGeom prst="roundRect">
            <a:avLst>
              <a:gd name="adj" fmla="val 0"/>
            </a:avLst>
          </a:prstGeom>
          <a:solidFill>
            <a:srgbClr val="DE4D1F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b="1" dirty="0">
                <a:latin typeface="Segoe UI Light" panose="020B0502040204020203" pitchFamily="34" charset="0"/>
                <a:cs typeface="Segoe UI Light" panose="020B0502040204020203" pitchFamily="34" charset="0"/>
              </a:rPr>
              <a:t>Lorem</a:t>
            </a:r>
            <a:endParaRPr lang="en-US" b="1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graphicFrame>
        <p:nvGraphicFramePr>
          <p:cNvPr id="27" name="Table 8">
            <a:extLst>
              <a:ext uri="{FF2B5EF4-FFF2-40B4-BE49-F238E27FC236}">
                <a16:creationId xmlns:a16="http://schemas.microsoft.com/office/drawing/2014/main" id="{984F65D1-3B0A-4B0C-B237-FFC86FA3D034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41850985"/>
              </p:ext>
            </p:extLst>
          </p:nvPr>
        </p:nvGraphicFramePr>
        <p:xfrm>
          <a:off x="6545943" y="1898810"/>
          <a:ext cx="5089427" cy="429826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27061">
                  <a:extLst>
                    <a:ext uri="{9D8B030D-6E8A-4147-A177-3AD203B41FA5}">
                      <a16:colId xmlns:a16="http://schemas.microsoft.com/office/drawing/2014/main" val="806939660"/>
                    </a:ext>
                  </a:extLst>
                </a:gridCol>
                <a:gridCol w="727061">
                  <a:extLst>
                    <a:ext uri="{9D8B030D-6E8A-4147-A177-3AD203B41FA5}">
                      <a16:colId xmlns:a16="http://schemas.microsoft.com/office/drawing/2014/main" val="559331030"/>
                    </a:ext>
                  </a:extLst>
                </a:gridCol>
                <a:gridCol w="727061">
                  <a:extLst>
                    <a:ext uri="{9D8B030D-6E8A-4147-A177-3AD203B41FA5}">
                      <a16:colId xmlns:a16="http://schemas.microsoft.com/office/drawing/2014/main" val="639162654"/>
                    </a:ext>
                  </a:extLst>
                </a:gridCol>
                <a:gridCol w="727061">
                  <a:extLst>
                    <a:ext uri="{9D8B030D-6E8A-4147-A177-3AD203B41FA5}">
                      <a16:colId xmlns:a16="http://schemas.microsoft.com/office/drawing/2014/main" val="425570885"/>
                    </a:ext>
                  </a:extLst>
                </a:gridCol>
                <a:gridCol w="727061">
                  <a:extLst>
                    <a:ext uri="{9D8B030D-6E8A-4147-A177-3AD203B41FA5}">
                      <a16:colId xmlns:a16="http://schemas.microsoft.com/office/drawing/2014/main" val="726421007"/>
                    </a:ext>
                  </a:extLst>
                </a:gridCol>
                <a:gridCol w="727061">
                  <a:extLst>
                    <a:ext uri="{9D8B030D-6E8A-4147-A177-3AD203B41FA5}">
                      <a16:colId xmlns:a16="http://schemas.microsoft.com/office/drawing/2014/main" val="3001568231"/>
                    </a:ext>
                  </a:extLst>
                </a:gridCol>
                <a:gridCol w="727061">
                  <a:extLst>
                    <a:ext uri="{9D8B030D-6E8A-4147-A177-3AD203B41FA5}">
                      <a16:colId xmlns:a16="http://schemas.microsoft.com/office/drawing/2014/main" val="3609750041"/>
                    </a:ext>
                  </a:extLst>
                </a:gridCol>
              </a:tblGrid>
              <a:tr h="500873">
                <a:tc>
                  <a:txBody>
                    <a:bodyPr/>
                    <a:lstStyle/>
                    <a:p>
                      <a:pPr algn="ctr"/>
                      <a:r>
                        <a:rPr lang="en-US" sz="1400" b="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Lorem</a:t>
                      </a:r>
                    </a:p>
                  </a:txBody>
                  <a:tcPr marL="36000" marR="36000" marT="0" marB="0" anchor="ctr">
                    <a:lnB w="38100" cmpd="sng">
                      <a:noFill/>
                    </a:lnB>
                    <a:solidFill>
                      <a:srgbClr val="3B87B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Lorem</a:t>
                      </a:r>
                    </a:p>
                  </a:txBody>
                  <a:tcPr marL="36000" marR="36000" marT="0" marB="0" anchor="ctr">
                    <a:lnB w="38100" cmpd="sng">
                      <a:noFill/>
                    </a:lnB>
                    <a:solidFill>
                      <a:srgbClr val="3B87B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Lorem</a:t>
                      </a:r>
                    </a:p>
                  </a:txBody>
                  <a:tcPr marL="36000" marR="36000" marT="0" marB="0" anchor="ctr">
                    <a:lnB w="38100" cmpd="sng">
                      <a:noFill/>
                    </a:lnB>
                    <a:solidFill>
                      <a:srgbClr val="3B87B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Lorem</a:t>
                      </a:r>
                    </a:p>
                  </a:txBody>
                  <a:tcPr marL="36000" marR="36000" marT="0" marB="0" anchor="ctr">
                    <a:lnB w="38100" cmpd="sng">
                      <a:noFill/>
                    </a:lnB>
                    <a:solidFill>
                      <a:srgbClr val="3B87B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Lorem</a:t>
                      </a:r>
                    </a:p>
                  </a:txBody>
                  <a:tcPr marL="36000" marR="36000" marT="0" marB="0" anchor="ctr">
                    <a:lnB w="38100" cmpd="sng">
                      <a:noFill/>
                    </a:lnB>
                    <a:solidFill>
                      <a:srgbClr val="3B87B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Lorem</a:t>
                      </a:r>
                    </a:p>
                  </a:txBody>
                  <a:tcPr marL="36000" marR="36000" marT="0" marB="0" anchor="ctr">
                    <a:lnB w="38100" cmpd="sng">
                      <a:noFill/>
                    </a:lnB>
                    <a:solidFill>
                      <a:srgbClr val="3B87B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Lorem</a:t>
                      </a:r>
                    </a:p>
                  </a:txBody>
                  <a:tcPr marL="36000" marR="36000" marT="0" marB="0" anchor="ctr">
                    <a:lnB w="38100" cmpd="sng">
                      <a:noFill/>
                    </a:lnB>
                    <a:solidFill>
                      <a:srgbClr val="3B87B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0249303"/>
                  </a:ext>
                </a:extLst>
              </a:tr>
              <a:tr h="603889">
                <a:tc>
                  <a:txBody>
                    <a:bodyPr/>
                    <a:lstStyle/>
                    <a:p>
                      <a:pPr algn="ctr"/>
                      <a:endParaRPr lang="en-US" sz="14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59675372"/>
                  </a:ext>
                </a:extLst>
              </a:tr>
              <a:tr h="638700">
                <a:tc>
                  <a:txBody>
                    <a:bodyPr/>
                    <a:lstStyle/>
                    <a:p>
                      <a:pPr algn="ctr"/>
                      <a:endParaRPr lang="en-US" sz="14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31327981"/>
                  </a:ext>
                </a:extLst>
              </a:tr>
              <a:tr h="638700">
                <a:tc>
                  <a:txBody>
                    <a:bodyPr/>
                    <a:lstStyle/>
                    <a:p>
                      <a:pPr algn="ctr"/>
                      <a:endParaRPr lang="en-US" sz="14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305551"/>
                  </a:ext>
                </a:extLst>
              </a:tr>
              <a:tr h="638700">
                <a:tc>
                  <a:txBody>
                    <a:bodyPr/>
                    <a:lstStyle/>
                    <a:p>
                      <a:pPr algn="ctr"/>
                      <a:endParaRPr lang="en-US" sz="14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705676"/>
                  </a:ext>
                </a:extLst>
              </a:tr>
              <a:tr h="638700">
                <a:tc>
                  <a:txBody>
                    <a:bodyPr/>
                    <a:lstStyle/>
                    <a:p>
                      <a:pPr algn="ctr"/>
                      <a:endParaRPr lang="en-US" sz="14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41551229"/>
                  </a:ext>
                </a:extLst>
              </a:tr>
              <a:tr h="638700">
                <a:tc>
                  <a:txBody>
                    <a:bodyPr/>
                    <a:lstStyle/>
                    <a:p>
                      <a:pPr algn="ctr"/>
                      <a:endParaRPr lang="en-US" sz="14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37476877"/>
                  </a:ext>
                </a:extLst>
              </a:tr>
            </a:tbl>
          </a:graphicData>
        </a:graphic>
      </p:graphicFrame>
      <p:sp>
        <p:nvSpPr>
          <p:cNvPr id="28" name="Arrow: Right 27">
            <a:extLst>
              <a:ext uri="{FF2B5EF4-FFF2-40B4-BE49-F238E27FC236}">
                <a16:creationId xmlns:a16="http://schemas.microsoft.com/office/drawing/2014/main" id="{EEA920CA-9CB2-4AA1-8E15-4F10D62D9C5B}"/>
              </a:ext>
            </a:extLst>
          </p:cNvPr>
          <p:cNvSpPr/>
          <p:nvPr/>
        </p:nvSpPr>
        <p:spPr>
          <a:xfrm>
            <a:off x="6545942" y="2509764"/>
            <a:ext cx="2887618" cy="418574"/>
          </a:xfrm>
          <a:prstGeom prst="rightArrow">
            <a:avLst>
              <a:gd name="adj1" fmla="val 68204"/>
              <a:gd name="adj2" fmla="val 50000"/>
            </a:avLst>
          </a:prstGeom>
          <a:solidFill>
            <a:srgbClr val="FDD0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i="1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orem ipsum</a:t>
            </a:r>
          </a:p>
        </p:txBody>
      </p:sp>
      <p:sp>
        <p:nvSpPr>
          <p:cNvPr id="29" name="Arrow: Right 28">
            <a:extLst>
              <a:ext uri="{FF2B5EF4-FFF2-40B4-BE49-F238E27FC236}">
                <a16:creationId xmlns:a16="http://schemas.microsoft.com/office/drawing/2014/main" id="{65AACC15-C815-421D-9757-53E8CF6C1411}"/>
              </a:ext>
            </a:extLst>
          </p:cNvPr>
          <p:cNvSpPr/>
          <p:nvPr/>
        </p:nvSpPr>
        <p:spPr>
          <a:xfrm>
            <a:off x="7254602" y="3104124"/>
            <a:ext cx="2178958" cy="418574"/>
          </a:xfrm>
          <a:prstGeom prst="rightArrow">
            <a:avLst>
              <a:gd name="adj1" fmla="val 68204"/>
              <a:gd name="adj2" fmla="val 50000"/>
            </a:avLst>
          </a:prstGeom>
          <a:solidFill>
            <a:srgbClr val="FDD0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i="1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orem ipsum</a:t>
            </a:r>
          </a:p>
        </p:txBody>
      </p:sp>
      <p:sp>
        <p:nvSpPr>
          <p:cNvPr id="30" name="Arrow: Right 29">
            <a:extLst>
              <a:ext uri="{FF2B5EF4-FFF2-40B4-BE49-F238E27FC236}">
                <a16:creationId xmlns:a16="http://schemas.microsoft.com/office/drawing/2014/main" id="{E89966EA-722C-4AA5-81A1-2AB998352FBC}"/>
              </a:ext>
            </a:extLst>
          </p:cNvPr>
          <p:cNvSpPr/>
          <p:nvPr/>
        </p:nvSpPr>
        <p:spPr>
          <a:xfrm>
            <a:off x="7254602" y="3751824"/>
            <a:ext cx="2887618" cy="418574"/>
          </a:xfrm>
          <a:prstGeom prst="rightArrow">
            <a:avLst>
              <a:gd name="adj1" fmla="val 68204"/>
              <a:gd name="adj2" fmla="val 50000"/>
            </a:avLst>
          </a:prstGeom>
          <a:solidFill>
            <a:srgbClr val="FDD0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i="1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orem ipsum</a:t>
            </a:r>
          </a:p>
        </p:txBody>
      </p:sp>
      <p:sp>
        <p:nvSpPr>
          <p:cNvPr id="31" name="Arrow: Right 30">
            <a:extLst>
              <a:ext uri="{FF2B5EF4-FFF2-40B4-BE49-F238E27FC236}">
                <a16:creationId xmlns:a16="http://schemas.microsoft.com/office/drawing/2014/main" id="{2E72AE01-934B-47B8-896D-AA516B372E37}"/>
              </a:ext>
            </a:extLst>
          </p:cNvPr>
          <p:cNvSpPr/>
          <p:nvPr/>
        </p:nvSpPr>
        <p:spPr>
          <a:xfrm>
            <a:off x="8401049" y="4370949"/>
            <a:ext cx="2476319" cy="418574"/>
          </a:xfrm>
          <a:prstGeom prst="rightArrow">
            <a:avLst>
              <a:gd name="adj1" fmla="val 68204"/>
              <a:gd name="adj2" fmla="val 50000"/>
            </a:avLst>
          </a:prstGeom>
          <a:solidFill>
            <a:srgbClr val="FDD0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i="1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orem ipsum</a:t>
            </a:r>
          </a:p>
        </p:txBody>
      </p:sp>
      <p:sp>
        <p:nvSpPr>
          <p:cNvPr id="32" name="Arrow: Right 31">
            <a:extLst>
              <a:ext uri="{FF2B5EF4-FFF2-40B4-BE49-F238E27FC236}">
                <a16:creationId xmlns:a16="http://schemas.microsoft.com/office/drawing/2014/main" id="{D194EB25-4E6C-4305-892E-C3DF0E0D5617}"/>
              </a:ext>
            </a:extLst>
          </p:cNvPr>
          <p:cNvSpPr/>
          <p:nvPr/>
        </p:nvSpPr>
        <p:spPr>
          <a:xfrm>
            <a:off x="9151438" y="4993249"/>
            <a:ext cx="2476319" cy="418574"/>
          </a:xfrm>
          <a:prstGeom prst="rightArrow">
            <a:avLst>
              <a:gd name="adj1" fmla="val 68204"/>
              <a:gd name="adj2" fmla="val 50000"/>
            </a:avLst>
          </a:prstGeom>
          <a:solidFill>
            <a:srgbClr val="FDD0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i="1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orem ipsum</a:t>
            </a:r>
          </a:p>
        </p:txBody>
      </p:sp>
      <p:sp>
        <p:nvSpPr>
          <p:cNvPr id="33" name="Arrow: Right 32">
            <a:extLst>
              <a:ext uri="{FF2B5EF4-FFF2-40B4-BE49-F238E27FC236}">
                <a16:creationId xmlns:a16="http://schemas.microsoft.com/office/drawing/2014/main" id="{264F4793-8B95-48DB-BD39-2F2AE1ED56E9}"/>
              </a:ext>
            </a:extLst>
          </p:cNvPr>
          <p:cNvSpPr/>
          <p:nvPr/>
        </p:nvSpPr>
        <p:spPr>
          <a:xfrm>
            <a:off x="9963150" y="5666349"/>
            <a:ext cx="1664607" cy="418574"/>
          </a:xfrm>
          <a:prstGeom prst="rightArrow">
            <a:avLst>
              <a:gd name="adj1" fmla="val 68204"/>
              <a:gd name="adj2" fmla="val 50000"/>
            </a:avLst>
          </a:prstGeom>
          <a:solidFill>
            <a:srgbClr val="FDD0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i="1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orem ipsum</a:t>
            </a:r>
          </a:p>
        </p:txBody>
      </p:sp>
      <p:sp>
        <p:nvSpPr>
          <p:cNvPr id="34" name="Rectangle: Rounded Corners 33">
            <a:extLst>
              <a:ext uri="{FF2B5EF4-FFF2-40B4-BE49-F238E27FC236}">
                <a16:creationId xmlns:a16="http://schemas.microsoft.com/office/drawing/2014/main" id="{49947F83-5338-4A29-9143-85EC1F0CB089}"/>
              </a:ext>
            </a:extLst>
          </p:cNvPr>
          <p:cNvSpPr/>
          <p:nvPr/>
        </p:nvSpPr>
        <p:spPr>
          <a:xfrm>
            <a:off x="1381129" y="1156954"/>
            <a:ext cx="10254241" cy="629708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>
              <a:spcAft>
                <a:spcPts val="600"/>
              </a:spcAft>
            </a:pPr>
            <a:r>
              <a:rPr lang="en-US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orem ipsum dolor sit </a:t>
            </a:r>
            <a:r>
              <a:rPr lang="en-US" dirty="0" err="1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met</a:t>
            </a:r>
            <a:r>
              <a:rPr lang="en-US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, </a:t>
            </a:r>
            <a:r>
              <a:rPr lang="en-US" dirty="0" err="1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onsectetur</a:t>
            </a:r>
            <a:r>
              <a:rPr lang="en-US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dirty="0" err="1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dipiscing</a:t>
            </a:r>
            <a:r>
              <a:rPr lang="en-US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dirty="0" err="1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lit</a:t>
            </a:r>
            <a:r>
              <a:rPr lang="en-US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. </a:t>
            </a:r>
            <a:r>
              <a:rPr lang="en-US" dirty="0" err="1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Nulla</a:t>
            </a:r>
            <a:r>
              <a:rPr lang="en-US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dirty="0" err="1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massa</a:t>
            </a:r>
            <a:r>
              <a:rPr lang="en-US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dirty="0" err="1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tellus</a:t>
            </a:r>
            <a:r>
              <a:rPr lang="en-US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, </a:t>
            </a:r>
            <a:r>
              <a:rPr lang="en-US" dirty="0" err="1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malesuada</a:t>
            </a:r>
            <a:r>
              <a:rPr lang="en-US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non </a:t>
            </a:r>
            <a:r>
              <a:rPr lang="en-US" dirty="0" err="1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onsequat</a:t>
            </a:r>
            <a:r>
              <a:rPr lang="en-US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a, </a:t>
            </a:r>
            <a:r>
              <a:rPr lang="en-US" dirty="0" err="1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gestas</a:t>
            </a:r>
            <a:r>
              <a:rPr lang="en-US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non mi. Ut in </a:t>
            </a:r>
            <a:r>
              <a:rPr lang="en-US" dirty="0" err="1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onsectetur</a:t>
            </a:r>
            <a:r>
              <a:rPr lang="en-US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dirty="0" err="1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metus</a:t>
            </a:r>
            <a:r>
              <a:rPr lang="en-US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. </a:t>
            </a:r>
            <a:r>
              <a:rPr lang="en-US" dirty="0" err="1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Nulla</a:t>
            </a:r>
            <a:r>
              <a:rPr lang="en-US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dirty="0" err="1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rat</a:t>
            </a:r>
            <a:r>
              <a:rPr lang="en-US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dirty="0" err="1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lit</a:t>
            </a:r>
            <a:r>
              <a:rPr lang="en-US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, </a:t>
            </a:r>
            <a:r>
              <a:rPr lang="en-US" dirty="0" err="1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ellentesque</a:t>
            </a:r>
            <a:r>
              <a:rPr lang="en-US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dirty="0" err="1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u</a:t>
            </a:r>
            <a:r>
              <a:rPr lang="en-US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dirty="0" err="1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rhoncus</a:t>
            </a:r>
            <a:r>
              <a:rPr lang="en-US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dirty="0" err="1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tincidunt</a:t>
            </a:r>
            <a:r>
              <a:rPr lang="en-US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, 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C0BE0E15-DB3E-4D71-BEBA-3C1644391654}"/>
              </a:ext>
            </a:extLst>
          </p:cNvPr>
          <p:cNvSpPr/>
          <p:nvPr/>
        </p:nvSpPr>
        <p:spPr>
          <a:xfrm>
            <a:off x="592582" y="1178266"/>
            <a:ext cx="566777" cy="56677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5D3A2591-5379-43CC-9587-918D399E3C0D}"/>
              </a:ext>
            </a:extLst>
          </p:cNvPr>
          <p:cNvGrpSpPr/>
          <p:nvPr/>
        </p:nvGrpSpPr>
        <p:grpSpPr>
          <a:xfrm>
            <a:off x="702933" y="1280679"/>
            <a:ext cx="346075" cy="361950"/>
            <a:chOff x="2676526" y="5394325"/>
            <a:chExt cx="346075" cy="361950"/>
          </a:xfrm>
          <a:solidFill>
            <a:srgbClr val="5E5E5E"/>
          </a:solidFill>
        </p:grpSpPr>
        <p:sp>
          <p:nvSpPr>
            <p:cNvPr id="37" name="Freeform 118">
              <a:extLst>
                <a:ext uri="{FF2B5EF4-FFF2-40B4-BE49-F238E27FC236}">
                  <a16:creationId xmlns:a16="http://schemas.microsoft.com/office/drawing/2014/main" id="{BD1BA454-AE9C-4651-8058-C10A94F68C28}"/>
                </a:ext>
              </a:extLst>
            </p:cNvPr>
            <p:cNvSpPr>
              <a:spLocks/>
            </p:cNvSpPr>
            <p:nvPr/>
          </p:nvSpPr>
          <p:spPr bwMode="auto">
            <a:xfrm>
              <a:off x="2676526" y="5394325"/>
              <a:ext cx="346075" cy="46038"/>
            </a:xfrm>
            <a:custGeom>
              <a:avLst/>
              <a:gdLst>
                <a:gd name="T0" fmla="*/ 92 w 92"/>
                <a:gd name="T1" fmla="*/ 12 h 12"/>
                <a:gd name="T2" fmla="*/ 92 w 92"/>
                <a:gd name="T3" fmla="*/ 2 h 12"/>
                <a:gd name="T4" fmla="*/ 90 w 92"/>
                <a:gd name="T5" fmla="*/ 0 h 12"/>
                <a:gd name="T6" fmla="*/ 2 w 92"/>
                <a:gd name="T7" fmla="*/ 0 h 12"/>
                <a:gd name="T8" fmla="*/ 0 w 92"/>
                <a:gd name="T9" fmla="*/ 2 h 12"/>
                <a:gd name="T10" fmla="*/ 0 w 92"/>
                <a:gd name="T11" fmla="*/ 12 h 12"/>
                <a:gd name="T12" fmla="*/ 92 w 92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2" h="12">
                  <a:moveTo>
                    <a:pt x="92" y="12"/>
                  </a:moveTo>
                  <a:cubicBezTo>
                    <a:pt x="92" y="2"/>
                    <a:pt x="92" y="2"/>
                    <a:pt x="92" y="2"/>
                  </a:cubicBezTo>
                  <a:cubicBezTo>
                    <a:pt x="92" y="1"/>
                    <a:pt x="91" y="0"/>
                    <a:pt x="9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12"/>
                    <a:pt x="0" y="12"/>
                    <a:pt x="0" y="12"/>
                  </a:cubicBezTo>
                  <a:lnTo>
                    <a:pt x="92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8" name="Freeform 119">
              <a:extLst>
                <a:ext uri="{FF2B5EF4-FFF2-40B4-BE49-F238E27FC236}">
                  <a16:creationId xmlns:a16="http://schemas.microsoft.com/office/drawing/2014/main" id="{B1DCC4E5-B5C1-4B16-9278-CA2692ED8E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6526" y="5454650"/>
              <a:ext cx="346075" cy="301625"/>
            </a:xfrm>
            <a:custGeom>
              <a:avLst/>
              <a:gdLst>
                <a:gd name="T0" fmla="*/ 90 w 92"/>
                <a:gd name="T1" fmla="*/ 52 h 80"/>
                <a:gd name="T2" fmla="*/ 84 w 92"/>
                <a:gd name="T3" fmla="*/ 52 h 80"/>
                <a:gd name="T4" fmla="*/ 84 w 92"/>
                <a:gd name="T5" fmla="*/ 0 h 80"/>
                <a:gd name="T6" fmla="*/ 8 w 92"/>
                <a:gd name="T7" fmla="*/ 0 h 80"/>
                <a:gd name="T8" fmla="*/ 8 w 92"/>
                <a:gd name="T9" fmla="*/ 52 h 80"/>
                <a:gd name="T10" fmla="*/ 2 w 92"/>
                <a:gd name="T11" fmla="*/ 52 h 80"/>
                <a:gd name="T12" fmla="*/ 0 w 92"/>
                <a:gd name="T13" fmla="*/ 54 h 80"/>
                <a:gd name="T14" fmla="*/ 2 w 92"/>
                <a:gd name="T15" fmla="*/ 56 h 80"/>
                <a:gd name="T16" fmla="*/ 44 w 92"/>
                <a:gd name="T17" fmla="*/ 56 h 80"/>
                <a:gd name="T18" fmla="*/ 44 w 92"/>
                <a:gd name="T19" fmla="*/ 64 h 80"/>
                <a:gd name="T20" fmla="*/ 38 w 92"/>
                <a:gd name="T21" fmla="*/ 72 h 80"/>
                <a:gd name="T22" fmla="*/ 46 w 92"/>
                <a:gd name="T23" fmla="*/ 80 h 80"/>
                <a:gd name="T24" fmla="*/ 54 w 92"/>
                <a:gd name="T25" fmla="*/ 72 h 80"/>
                <a:gd name="T26" fmla="*/ 48 w 92"/>
                <a:gd name="T27" fmla="*/ 64 h 80"/>
                <a:gd name="T28" fmla="*/ 48 w 92"/>
                <a:gd name="T29" fmla="*/ 56 h 80"/>
                <a:gd name="T30" fmla="*/ 90 w 92"/>
                <a:gd name="T31" fmla="*/ 56 h 80"/>
                <a:gd name="T32" fmla="*/ 92 w 92"/>
                <a:gd name="T33" fmla="*/ 54 h 80"/>
                <a:gd name="T34" fmla="*/ 90 w 92"/>
                <a:gd name="T35" fmla="*/ 52 h 80"/>
                <a:gd name="T36" fmla="*/ 34 w 92"/>
                <a:gd name="T37" fmla="*/ 44 h 80"/>
                <a:gd name="T38" fmla="*/ 16 w 92"/>
                <a:gd name="T39" fmla="*/ 26 h 80"/>
                <a:gd name="T40" fmla="*/ 23 w 92"/>
                <a:gd name="T41" fmla="*/ 11 h 80"/>
                <a:gd name="T42" fmla="*/ 32 w 92"/>
                <a:gd name="T43" fmla="*/ 27 h 80"/>
                <a:gd name="T44" fmla="*/ 35 w 92"/>
                <a:gd name="T45" fmla="*/ 44 h 80"/>
                <a:gd name="T46" fmla="*/ 34 w 92"/>
                <a:gd name="T47" fmla="*/ 44 h 80"/>
                <a:gd name="T48" fmla="*/ 50 w 92"/>
                <a:gd name="T49" fmla="*/ 72 h 80"/>
                <a:gd name="T50" fmla="*/ 46 w 92"/>
                <a:gd name="T51" fmla="*/ 76 h 80"/>
                <a:gd name="T52" fmla="*/ 42 w 92"/>
                <a:gd name="T53" fmla="*/ 72 h 80"/>
                <a:gd name="T54" fmla="*/ 46 w 92"/>
                <a:gd name="T55" fmla="*/ 68 h 80"/>
                <a:gd name="T56" fmla="*/ 50 w 92"/>
                <a:gd name="T57" fmla="*/ 72 h 80"/>
                <a:gd name="T58" fmla="*/ 39 w 92"/>
                <a:gd name="T59" fmla="*/ 43 h 80"/>
                <a:gd name="T60" fmla="*/ 36 w 92"/>
                <a:gd name="T61" fmla="*/ 28 h 80"/>
                <a:gd name="T62" fmla="*/ 52 w 92"/>
                <a:gd name="T63" fmla="*/ 28 h 80"/>
                <a:gd name="T64" fmla="*/ 39 w 92"/>
                <a:gd name="T65" fmla="*/ 43 h 80"/>
                <a:gd name="T66" fmla="*/ 35 w 92"/>
                <a:gd name="T67" fmla="*/ 24 h 80"/>
                <a:gd name="T68" fmla="*/ 27 w 92"/>
                <a:gd name="T69" fmla="*/ 9 h 80"/>
                <a:gd name="T70" fmla="*/ 34 w 92"/>
                <a:gd name="T71" fmla="*/ 8 h 80"/>
                <a:gd name="T72" fmla="*/ 52 w 92"/>
                <a:gd name="T73" fmla="*/ 24 h 80"/>
                <a:gd name="T74" fmla="*/ 35 w 92"/>
                <a:gd name="T75" fmla="*/ 24 h 80"/>
                <a:gd name="T76" fmla="*/ 74 w 92"/>
                <a:gd name="T77" fmla="*/ 28 h 80"/>
                <a:gd name="T78" fmla="*/ 62 w 92"/>
                <a:gd name="T79" fmla="*/ 28 h 80"/>
                <a:gd name="T80" fmla="*/ 60 w 92"/>
                <a:gd name="T81" fmla="*/ 26 h 80"/>
                <a:gd name="T82" fmla="*/ 62 w 92"/>
                <a:gd name="T83" fmla="*/ 24 h 80"/>
                <a:gd name="T84" fmla="*/ 74 w 92"/>
                <a:gd name="T85" fmla="*/ 24 h 80"/>
                <a:gd name="T86" fmla="*/ 76 w 92"/>
                <a:gd name="T87" fmla="*/ 26 h 80"/>
                <a:gd name="T88" fmla="*/ 74 w 92"/>
                <a:gd name="T89" fmla="*/ 28 h 80"/>
                <a:gd name="T90" fmla="*/ 74 w 92"/>
                <a:gd name="T91" fmla="*/ 20 h 80"/>
                <a:gd name="T92" fmla="*/ 62 w 92"/>
                <a:gd name="T93" fmla="*/ 20 h 80"/>
                <a:gd name="T94" fmla="*/ 60 w 92"/>
                <a:gd name="T95" fmla="*/ 18 h 80"/>
                <a:gd name="T96" fmla="*/ 62 w 92"/>
                <a:gd name="T97" fmla="*/ 16 h 80"/>
                <a:gd name="T98" fmla="*/ 74 w 92"/>
                <a:gd name="T99" fmla="*/ 16 h 80"/>
                <a:gd name="T100" fmla="*/ 76 w 92"/>
                <a:gd name="T101" fmla="*/ 18 h 80"/>
                <a:gd name="T102" fmla="*/ 74 w 92"/>
                <a:gd name="T103" fmla="*/ 20 h 80"/>
                <a:gd name="T104" fmla="*/ 74 w 92"/>
                <a:gd name="T105" fmla="*/ 12 h 80"/>
                <a:gd name="T106" fmla="*/ 62 w 92"/>
                <a:gd name="T107" fmla="*/ 12 h 80"/>
                <a:gd name="T108" fmla="*/ 60 w 92"/>
                <a:gd name="T109" fmla="*/ 10 h 80"/>
                <a:gd name="T110" fmla="*/ 62 w 92"/>
                <a:gd name="T111" fmla="*/ 8 h 80"/>
                <a:gd name="T112" fmla="*/ 74 w 92"/>
                <a:gd name="T113" fmla="*/ 8 h 80"/>
                <a:gd name="T114" fmla="*/ 76 w 92"/>
                <a:gd name="T115" fmla="*/ 10 h 80"/>
                <a:gd name="T116" fmla="*/ 74 w 92"/>
                <a:gd name="T117" fmla="*/ 12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92" h="80">
                  <a:moveTo>
                    <a:pt x="90" y="52"/>
                  </a:moveTo>
                  <a:cubicBezTo>
                    <a:pt x="84" y="52"/>
                    <a:pt x="84" y="52"/>
                    <a:pt x="84" y="52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52"/>
                    <a:pt x="8" y="52"/>
                    <a:pt x="8" y="52"/>
                  </a:cubicBezTo>
                  <a:cubicBezTo>
                    <a:pt x="2" y="52"/>
                    <a:pt x="2" y="52"/>
                    <a:pt x="2" y="52"/>
                  </a:cubicBezTo>
                  <a:cubicBezTo>
                    <a:pt x="1" y="52"/>
                    <a:pt x="0" y="53"/>
                    <a:pt x="0" y="54"/>
                  </a:cubicBezTo>
                  <a:cubicBezTo>
                    <a:pt x="0" y="55"/>
                    <a:pt x="1" y="56"/>
                    <a:pt x="2" y="56"/>
                  </a:cubicBezTo>
                  <a:cubicBezTo>
                    <a:pt x="44" y="56"/>
                    <a:pt x="44" y="56"/>
                    <a:pt x="44" y="56"/>
                  </a:cubicBezTo>
                  <a:cubicBezTo>
                    <a:pt x="44" y="64"/>
                    <a:pt x="44" y="64"/>
                    <a:pt x="44" y="64"/>
                  </a:cubicBezTo>
                  <a:cubicBezTo>
                    <a:pt x="41" y="65"/>
                    <a:pt x="38" y="68"/>
                    <a:pt x="38" y="72"/>
                  </a:cubicBezTo>
                  <a:cubicBezTo>
                    <a:pt x="38" y="76"/>
                    <a:pt x="42" y="80"/>
                    <a:pt x="46" y="80"/>
                  </a:cubicBezTo>
                  <a:cubicBezTo>
                    <a:pt x="50" y="80"/>
                    <a:pt x="54" y="76"/>
                    <a:pt x="54" y="72"/>
                  </a:cubicBezTo>
                  <a:cubicBezTo>
                    <a:pt x="54" y="68"/>
                    <a:pt x="51" y="65"/>
                    <a:pt x="48" y="64"/>
                  </a:cubicBezTo>
                  <a:cubicBezTo>
                    <a:pt x="48" y="56"/>
                    <a:pt x="48" y="56"/>
                    <a:pt x="48" y="56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91" y="56"/>
                    <a:pt x="92" y="55"/>
                    <a:pt x="92" y="54"/>
                  </a:cubicBezTo>
                  <a:cubicBezTo>
                    <a:pt x="92" y="53"/>
                    <a:pt x="91" y="52"/>
                    <a:pt x="90" y="52"/>
                  </a:cubicBezTo>
                  <a:close/>
                  <a:moveTo>
                    <a:pt x="34" y="44"/>
                  </a:moveTo>
                  <a:cubicBezTo>
                    <a:pt x="24" y="44"/>
                    <a:pt x="16" y="36"/>
                    <a:pt x="16" y="26"/>
                  </a:cubicBezTo>
                  <a:cubicBezTo>
                    <a:pt x="16" y="20"/>
                    <a:pt x="19" y="15"/>
                    <a:pt x="23" y="11"/>
                  </a:cubicBezTo>
                  <a:cubicBezTo>
                    <a:pt x="32" y="27"/>
                    <a:pt x="32" y="27"/>
                    <a:pt x="32" y="27"/>
                  </a:cubicBezTo>
                  <a:cubicBezTo>
                    <a:pt x="35" y="44"/>
                    <a:pt x="35" y="44"/>
                    <a:pt x="35" y="44"/>
                  </a:cubicBezTo>
                  <a:cubicBezTo>
                    <a:pt x="35" y="44"/>
                    <a:pt x="34" y="44"/>
                    <a:pt x="34" y="44"/>
                  </a:cubicBezTo>
                  <a:close/>
                  <a:moveTo>
                    <a:pt x="50" y="72"/>
                  </a:moveTo>
                  <a:cubicBezTo>
                    <a:pt x="50" y="74"/>
                    <a:pt x="48" y="76"/>
                    <a:pt x="46" y="76"/>
                  </a:cubicBezTo>
                  <a:cubicBezTo>
                    <a:pt x="44" y="76"/>
                    <a:pt x="42" y="74"/>
                    <a:pt x="42" y="72"/>
                  </a:cubicBezTo>
                  <a:cubicBezTo>
                    <a:pt x="42" y="70"/>
                    <a:pt x="44" y="68"/>
                    <a:pt x="46" y="68"/>
                  </a:cubicBezTo>
                  <a:cubicBezTo>
                    <a:pt x="48" y="68"/>
                    <a:pt x="50" y="70"/>
                    <a:pt x="50" y="72"/>
                  </a:cubicBezTo>
                  <a:close/>
                  <a:moveTo>
                    <a:pt x="39" y="43"/>
                  </a:moveTo>
                  <a:cubicBezTo>
                    <a:pt x="36" y="28"/>
                    <a:pt x="36" y="28"/>
                    <a:pt x="36" y="28"/>
                  </a:cubicBezTo>
                  <a:cubicBezTo>
                    <a:pt x="52" y="28"/>
                    <a:pt x="52" y="28"/>
                    <a:pt x="52" y="28"/>
                  </a:cubicBezTo>
                  <a:cubicBezTo>
                    <a:pt x="51" y="35"/>
                    <a:pt x="46" y="41"/>
                    <a:pt x="39" y="43"/>
                  </a:cubicBezTo>
                  <a:close/>
                  <a:moveTo>
                    <a:pt x="35" y="24"/>
                  </a:moveTo>
                  <a:cubicBezTo>
                    <a:pt x="27" y="9"/>
                    <a:pt x="27" y="9"/>
                    <a:pt x="27" y="9"/>
                  </a:cubicBezTo>
                  <a:cubicBezTo>
                    <a:pt x="29" y="9"/>
                    <a:pt x="31" y="8"/>
                    <a:pt x="34" y="8"/>
                  </a:cubicBezTo>
                  <a:cubicBezTo>
                    <a:pt x="43" y="8"/>
                    <a:pt x="51" y="15"/>
                    <a:pt x="52" y="24"/>
                  </a:cubicBezTo>
                  <a:lnTo>
                    <a:pt x="35" y="24"/>
                  </a:lnTo>
                  <a:close/>
                  <a:moveTo>
                    <a:pt x="74" y="28"/>
                  </a:moveTo>
                  <a:cubicBezTo>
                    <a:pt x="62" y="28"/>
                    <a:pt x="62" y="28"/>
                    <a:pt x="62" y="28"/>
                  </a:cubicBezTo>
                  <a:cubicBezTo>
                    <a:pt x="61" y="28"/>
                    <a:pt x="60" y="27"/>
                    <a:pt x="60" y="26"/>
                  </a:cubicBezTo>
                  <a:cubicBezTo>
                    <a:pt x="60" y="25"/>
                    <a:pt x="61" y="24"/>
                    <a:pt x="62" y="24"/>
                  </a:cubicBezTo>
                  <a:cubicBezTo>
                    <a:pt x="74" y="24"/>
                    <a:pt x="74" y="24"/>
                    <a:pt x="74" y="24"/>
                  </a:cubicBezTo>
                  <a:cubicBezTo>
                    <a:pt x="75" y="24"/>
                    <a:pt x="76" y="25"/>
                    <a:pt x="76" y="26"/>
                  </a:cubicBezTo>
                  <a:cubicBezTo>
                    <a:pt x="76" y="27"/>
                    <a:pt x="75" y="28"/>
                    <a:pt x="74" y="28"/>
                  </a:cubicBezTo>
                  <a:close/>
                  <a:moveTo>
                    <a:pt x="74" y="20"/>
                  </a:moveTo>
                  <a:cubicBezTo>
                    <a:pt x="62" y="20"/>
                    <a:pt x="62" y="20"/>
                    <a:pt x="62" y="20"/>
                  </a:cubicBezTo>
                  <a:cubicBezTo>
                    <a:pt x="61" y="20"/>
                    <a:pt x="60" y="19"/>
                    <a:pt x="60" y="18"/>
                  </a:cubicBezTo>
                  <a:cubicBezTo>
                    <a:pt x="60" y="17"/>
                    <a:pt x="61" y="16"/>
                    <a:pt x="62" y="16"/>
                  </a:cubicBezTo>
                  <a:cubicBezTo>
                    <a:pt x="74" y="16"/>
                    <a:pt x="74" y="16"/>
                    <a:pt x="74" y="16"/>
                  </a:cubicBezTo>
                  <a:cubicBezTo>
                    <a:pt x="75" y="16"/>
                    <a:pt x="76" y="17"/>
                    <a:pt x="76" y="18"/>
                  </a:cubicBezTo>
                  <a:cubicBezTo>
                    <a:pt x="76" y="19"/>
                    <a:pt x="75" y="20"/>
                    <a:pt x="74" y="20"/>
                  </a:cubicBezTo>
                  <a:close/>
                  <a:moveTo>
                    <a:pt x="74" y="12"/>
                  </a:moveTo>
                  <a:cubicBezTo>
                    <a:pt x="62" y="12"/>
                    <a:pt x="62" y="12"/>
                    <a:pt x="62" y="12"/>
                  </a:cubicBezTo>
                  <a:cubicBezTo>
                    <a:pt x="61" y="12"/>
                    <a:pt x="60" y="11"/>
                    <a:pt x="60" y="10"/>
                  </a:cubicBezTo>
                  <a:cubicBezTo>
                    <a:pt x="60" y="9"/>
                    <a:pt x="61" y="8"/>
                    <a:pt x="62" y="8"/>
                  </a:cubicBezTo>
                  <a:cubicBezTo>
                    <a:pt x="74" y="8"/>
                    <a:pt x="74" y="8"/>
                    <a:pt x="74" y="8"/>
                  </a:cubicBezTo>
                  <a:cubicBezTo>
                    <a:pt x="75" y="8"/>
                    <a:pt x="76" y="9"/>
                    <a:pt x="76" y="10"/>
                  </a:cubicBezTo>
                  <a:cubicBezTo>
                    <a:pt x="76" y="11"/>
                    <a:pt x="75" y="12"/>
                    <a:pt x="7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</p:spTree>
    <p:extLst>
      <p:ext uri="{BB962C8B-B14F-4D97-AF65-F5344CB8AC3E}">
        <p14:creationId xmlns:p14="http://schemas.microsoft.com/office/powerpoint/2010/main" val="50720319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c12IWFFnY9pdUs5SHwuB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RIyW69lqkY8pDh.NaBkY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 Theme">
  <a:themeElements>
    <a:clrScheme name="Paper">
      <a:dk1>
        <a:sysClr val="windowText" lastClr="000000"/>
      </a:dk1>
      <a:lt1>
        <a:sysClr val="window" lastClr="FFFFFF"/>
      </a:lt1>
      <a:dk2>
        <a:srgbClr val="444D26"/>
      </a:dk2>
      <a:lt2>
        <a:srgbClr val="FEFAC9"/>
      </a:lt2>
      <a:accent1>
        <a:srgbClr val="A5B592"/>
      </a:accent1>
      <a:accent2>
        <a:srgbClr val="F3A447"/>
      </a:accent2>
      <a:accent3>
        <a:srgbClr val="E7BC29"/>
      </a:accent3>
      <a:accent4>
        <a:srgbClr val="D092A7"/>
      </a:accent4>
      <a:accent5>
        <a:srgbClr val="9C85C0"/>
      </a:accent5>
      <a:accent6>
        <a:srgbClr val="809EC2"/>
      </a:accent6>
      <a:hlink>
        <a:srgbClr val="8E58B6"/>
      </a:hlink>
      <a:folHlink>
        <a:srgbClr val="7F6F6F"/>
      </a:folHlink>
    </a:clrScheme>
    <a:fontScheme name="Custom 2">
      <a:majorFont>
        <a:latin typeface="Bahnschrift"/>
        <a:ea typeface=""/>
        <a:cs typeface=""/>
      </a:majorFont>
      <a:minorFont>
        <a:latin typeface="Calibri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2_Office Theme">
  <a:themeElements>
    <a:clrScheme name="Marquee">
      <a:dk1>
        <a:srgbClr val="000000"/>
      </a:dk1>
      <a:lt1>
        <a:sysClr val="window" lastClr="FFFFFF"/>
      </a:lt1>
      <a:dk2>
        <a:srgbClr val="5E5E5E"/>
      </a:dk2>
      <a:lt2>
        <a:srgbClr val="DDDDDD"/>
      </a:lt2>
      <a:accent1>
        <a:srgbClr val="418AB3"/>
      </a:accent1>
      <a:accent2>
        <a:srgbClr val="A6B727"/>
      </a:accent2>
      <a:accent3>
        <a:srgbClr val="F69200"/>
      </a:accent3>
      <a:accent4>
        <a:srgbClr val="838383"/>
      </a:accent4>
      <a:accent5>
        <a:srgbClr val="FEC306"/>
      </a:accent5>
      <a:accent6>
        <a:srgbClr val="DF5327"/>
      </a:accent6>
      <a:hlink>
        <a:srgbClr val="F59E00"/>
      </a:hlink>
      <a:folHlink>
        <a:srgbClr val="B2B2B2"/>
      </a:folHlink>
    </a:clrScheme>
    <a:fontScheme name="Consolas-Verdana">
      <a:majorFont>
        <a:latin typeface="Consolas" panose="020B0609020204030204"/>
        <a:ea typeface=""/>
        <a:cs typeface=""/>
        <a:font script="Jpan" typeface="HG丸ｺﾞｼｯｸM-PRO"/>
        <a:font script="Hang" typeface="HY중고딕"/>
        <a:font script="Hans" typeface="华文楷体"/>
        <a:font script="Hant" typeface="新細明體"/>
        <a:font script="Arab" typeface="Tahoma"/>
        <a:font script="Hebr" typeface="Levenim MT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Verdana" panose="020B0604030504040204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640</TotalTime>
  <Words>889</Words>
  <Application>Microsoft Macintosh PowerPoint</Application>
  <PresentationFormat>Widescreen</PresentationFormat>
  <Paragraphs>321</Paragraphs>
  <Slides>14</Slides>
  <Notes>8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26" baseType="lpstr">
      <vt:lpstr>Arial</vt:lpstr>
      <vt:lpstr>Bahnschrift</vt:lpstr>
      <vt:lpstr>Calibri</vt:lpstr>
      <vt:lpstr>Calibri Light</vt:lpstr>
      <vt:lpstr>Consolas</vt:lpstr>
      <vt:lpstr>Segoe UI</vt:lpstr>
      <vt:lpstr>Segoe UI Light</vt:lpstr>
      <vt:lpstr>Verdana</vt:lpstr>
      <vt:lpstr>Office Theme</vt:lpstr>
      <vt:lpstr>1_Office Theme</vt:lpstr>
      <vt:lpstr>2_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Multiple project timelines</vt:lpstr>
      <vt:lpstr>Multiple project timelines</vt:lpstr>
      <vt:lpstr>Multiple project timelines</vt:lpstr>
      <vt:lpstr>PowerPoint Presentation</vt:lpstr>
      <vt:lpstr>Multiple project timelines</vt:lpstr>
      <vt:lpstr>Multiple project timelines</vt:lpstr>
      <vt:lpstr>Multiple project timelines</vt:lpstr>
      <vt:lpstr>Multiple project timelines</vt:lpstr>
      <vt:lpstr>Multiple project timelines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it 24slides5</dc:creator>
  <cp:lastModifiedBy>Thomas Athey</cp:lastModifiedBy>
  <cp:revision>63</cp:revision>
  <dcterms:created xsi:type="dcterms:W3CDTF">2021-03-19T04:42:01Z</dcterms:created>
  <dcterms:modified xsi:type="dcterms:W3CDTF">2022-05-06T12:55:22Z</dcterms:modified>
</cp:coreProperties>
</file>